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1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微软雅黑" panose="020B0503020204020204" pitchFamily="34" charset="-122"/>
      <p:regular r:id="rId19"/>
    </p:embeddedFont>
    <p:embeddedFont>
      <p:font typeface="等线" panose="02010600030101010101" charset="-122"/>
      <p:regular r:id="rId20"/>
    </p:embeddedFont>
  </p:embeddedFont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9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10" d="100"/>
          <a:sy n="110" d="100"/>
        </p:scale>
        <p:origin x="658" y="6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0" Type="http://schemas.openxmlformats.org/officeDocument/2006/relationships/font" Target="fonts/font6.fntdata"/><Relationship Id="rId2" Type="http://schemas.openxmlformats.org/officeDocument/2006/relationships/theme" Target="theme/theme1.xml"/><Relationship Id="rId19" Type="http://schemas.openxmlformats.org/officeDocument/2006/relationships/font" Target="fonts/font5.fntdata"/><Relationship Id="rId18" Type="http://schemas.openxmlformats.org/officeDocument/2006/relationships/font" Target="fonts/font4.fntdata"/><Relationship Id="rId17" Type="http://schemas.openxmlformats.org/officeDocument/2006/relationships/font" Target="fonts/font3.fntdata"/><Relationship Id="rId16" Type="http://schemas.openxmlformats.org/officeDocument/2006/relationships/font" Target="fonts/font2.fntdata"/><Relationship Id="rId15" Type="http://schemas.openxmlformats.org/officeDocument/2006/relationships/font" Target="fonts/font1.fntdata"/><Relationship Id="rId14" Type="http://schemas.openxmlformats.org/officeDocument/2006/relationships/tableStyles" Target="tableStyles.xml"/><Relationship Id="rId13" Type="http://schemas.openxmlformats.org/officeDocument/2006/relationships/viewProps" Target="viewProps.xml"/><Relationship Id="rId12" Type="http://schemas.openxmlformats.org/officeDocument/2006/relationships/presProps" Target="presProps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C3F43D7A-55AB-4203-BF8B-5F2E8E6D44E8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 smtClean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4B649F64-D9F8-4CEE-9DCE-7FFEA46D59D4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1588" y="-1588"/>
            <a:ext cx="9136062" cy="5137151"/>
          </a:xfrm>
          <a:prstGeom prst="rect">
            <a:avLst/>
          </a:prstGeom>
          <a:solidFill>
            <a:schemeClr val="tx1"/>
          </a:solidFill>
          <a:ln w="9525">
            <a:solidFill>
              <a:srgbClr val="FFC000">
                <a:alpha val="3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9BB83708-FE6A-4CFE-B8D8-8EBB56019AB7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ACC810BB-8927-4141-A946-6D44B9D3AC0A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CD8974C4-FEC1-4082-B9B1-A2304FA5AD55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406A20E6-BB2C-4F63-847E-695D381FCD18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61E2DF87-2A3A-41AF-BCD4-8B594A33D0B5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1C54C6AF-D5C2-462D-9286-92B7CC91A2D8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B149D551-EF6D-4132-9FDE-6FE8943108EE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38C7BC31-7A49-4E1E-9926-1295DF50D45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504D9469-5612-40E5-90F1-C27E1244B9D7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2BE4FCFB-7305-4511-9733-206964D74D1B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B51C1EDB-80BA-4845-A3D5-53F6B5A80493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68C392A5-85EA-4061-B02E-8C058CFD981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7FDFF1B6-EF4D-431B-8E6E-97FDFADC8AE7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4B9889F9-0CBF-4806-9B37-7B064ACF0636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836F7A99-81C5-499B-A204-7564EF7B73D2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E1309EBD-4180-4918-817D-EA6654C8847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4F07FA65-973E-4D3D-ACF7-514F9FC59F90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E266161F-1F49-4A57-8631-6F70665DC3B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541F80D6-97EF-4E23-8A08-059BB1D36EE0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6BD5AB8D-50B2-4431-AFED-7DF9E7A22952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A31B4A96-C596-463A-9FDD-3FC6D51ED28C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CF0263B3-A097-495D-9608-73E7A1F555C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1588" y="-1588"/>
            <a:ext cx="9136062" cy="5137151"/>
          </a:xfrm>
          <a:prstGeom prst="rect">
            <a:avLst/>
          </a:prstGeom>
          <a:solidFill>
            <a:schemeClr val="tx1"/>
          </a:solidFill>
          <a:ln w="9525">
            <a:solidFill>
              <a:srgbClr val="FFC000">
                <a:alpha val="3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4" name="弦形 5"/>
          <p:cNvSpPr/>
          <p:nvPr userDrawn="1"/>
        </p:nvSpPr>
        <p:spPr>
          <a:xfrm rot="3885112">
            <a:off x="1826419" y="-1439069"/>
            <a:ext cx="6618288" cy="9655175"/>
          </a:xfrm>
          <a:custGeom>
            <a:avLst/>
            <a:gdLst>
              <a:gd name="connsiteX0" fmla="*/ 3358568 w 4320534"/>
              <a:gd name="connsiteY0" fmla="*/ 2638479 h 2880356"/>
              <a:gd name="connsiteX1" fmla="*/ 1384277 w 4320534"/>
              <a:gd name="connsiteY1" fmla="*/ 2784234 h 2880356"/>
              <a:gd name="connsiteX2" fmla="*/ 155843 w 4320534"/>
              <a:gd name="connsiteY2" fmla="*/ 903094 h 2880356"/>
              <a:gd name="connsiteX3" fmla="*/ 2160268 w 4320534"/>
              <a:gd name="connsiteY3" fmla="*/ 0 h 2880356"/>
              <a:gd name="connsiteX4" fmla="*/ 3358568 w 4320534"/>
              <a:gd name="connsiteY4" fmla="*/ 2638479 h 2880356"/>
              <a:gd name="connsiteX0-1" fmla="*/ 2938776 w 2938776"/>
              <a:gd name="connsiteY0-2" fmla="*/ 5722799 h 5742336"/>
              <a:gd name="connsiteX1-3" fmla="*/ 1327163 w 2938776"/>
              <a:gd name="connsiteY1-4" fmla="*/ 2784234 h 5742336"/>
              <a:gd name="connsiteX2-5" fmla="*/ 98729 w 2938776"/>
              <a:gd name="connsiteY2-6" fmla="*/ 903094 h 5742336"/>
              <a:gd name="connsiteX3-7" fmla="*/ 2103154 w 2938776"/>
              <a:gd name="connsiteY3-8" fmla="*/ 0 h 5742336"/>
              <a:gd name="connsiteX4-9" fmla="*/ 2938776 w 2938776"/>
              <a:gd name="connsiteY4-10" fmla="*/ 5722799 h 5742336"/>
              <a:gd name="connsiteX0-11" fmla="*/ 2938776 w 6387263"/>
              <a:gd name="connsiteY0-12" fmla="*/ 7354570 h 7374107"/>
              <a:gd name="connsiteX1-13" fmla="*/ 1327163 w 6387263"/>
              <a:gd name="connsiteY1-14" fmla="*/ 4416005 h 7374107"/>
              <a:gd name="connsiteX2-15" fmla="*/ 98729 w 6387263"/>
              <a:gd name="connsiteY2-16" fmla="*/ 2534865 h 7374107"/>
              <a:gd name="connsiteX3-17" fmla="*/ 6360564 w 6387263"/>
              <a:gd name="connsiteY3-18" fmla="*/ 0 h 7374107"/>
              <a:gd name="connsiteX4-19" fmla="*/ 2938776 w 6387263"/>
              <a:gd name="connsiteY4-20" fmla="*/ 7354570 h 7374107"/>
              <a:gd name="connsiteX0-21" fmla="*/ 1692519 w 5141006"/>
              <a:gd name="connsiteY0-22" fmla="*/ 7423337 h 7446108"/>
              <a:gd name="connsiteX1-23" fmla="*/ 80906 w 5141006"/>
              <a:gd name="connsiteY1-24" fmla="*/ 4484772 h 7446108"/>
              <a:gd name="connsiteX2-25" fmla="*/ 506142 w 5141006"/>
              <a:gd name="connsiteY2-26" fmla="*/ 340438 h 7446108"/>
              <a:gd name="connsiteX3-27" fmla="*/ 5114307 w 5141006"/>
              <a:gd name="connsiteY3-28" fmla="*/ 68767 h 7446108"/>
              <a:gd name="connsiteX4-29" fmla="*/ 1692519 w 5141006"/>
              <a:gd name="connsiteY4-30" fmla="*/ 7423337 h 7446108"/>
              <a:gd name="connsiteX0-31" fmla="*/ 1624600 w 5073087"/>
              <a:gd name="connsiteY0-32" fmla="*/ 9350013 h 9377066"/>
              <a:gd name="connsiteX1-33" fmla="*/ 12987 w 5073087"/>
              <a:gd name="connsiteY1-34" fmla="*/ 6411448 h 9377066"/>
              <a:gd name="connsiteX2-35" fmla="*/ 964666 w 5073087"/>
              <a:gd name="connsiteY2-36" fmla="*/ 78919 h 9377066"/>
              <a:gd name="connsiteX3-37" fmla="*/ 5046388 w 5073087"/>
              <a:gd name="connsiteY3-38" fmla="*/ 1995443 h 9377066"/>
              <a:gd name="connsiteX4-39" fmla="*/ 1624600 w 5073087"/>
              <a:gd name="connsiteY4-40" fmla="*/ 9350013 h 9377066"/>
              <a:gd name="connsiteX0-41" fmla="*/ 1923392 w 5371879"/>
              <a:gd name="connsiteY0-42" fmla="*/ 9350013 h 9377066"/>
              <a:gd name="connsiteX1-43" fmla="*/ 311779 w 5371879"/>
              <a:gd name="connsiteY1-44" fmla="*/ 6411448 h 9377066"/>
              <a:gd name="connsiteX2-45" fmla="*/ 1263458 w 5371879"/>
              <a:gd name="connsiteY2-46" fmla="*/ 78919 h 9377066"/>
              <a:gd name="connsiteX3-47" fmla="*/ 5345180 w 5371879"/>
              <a:gd name="connsiteY3-48" fmla="*/ 1995443 h 9377066"/>
              <a:gd name="connsiteX4-49" fmla="*/ 1923392 w 5371879"/>
              <a:gd name="connsiteY4-50" fmla="*/ 9350013 h 9377066"/>
              <a:gd name="connsiteX0-51" fmla="*/ 897612 w 4346099"/>
              <a:gd name="connsiteY0-52" fmla="*/ 9350013 h 9350013"/>
              <a:gd name="connsiteX1-53" fmla="*/ 237678 w 4346099"/>
              <a:gd name="connsiteY1-54" fmla="*/ 78919 h 9350013"/>
              <a:gd name="connsiteX2-55" fmla="*/ 4319400 w 4346099"/>
              <a:gd name="connsiteY2-56" fmla="*/ 1995443 h 9350013"/>
              <a:gd name="connsiteX3-57" fmla="*/ 897612 w 4346099"/>
              <a:gd name="connsiteY3-58" fmla="*/ 9350013 h 9350013"/>
              <a:gd name="connsiteX0-59" fmla="*/ 897612 w 4346099"/>
              <a:gd name="connsiteY0-60" fmla="*/ 9360029 h 9360029"/>
              <a:gd name="connsiteX1-61" fmla="*/ 237678 w 4346099"/>
              <a:gd name="connsiteY1-62" fmla="*/ 88935 h 9360029"/>
              <a:gd name="connsiteX2-63" fmla="*/ 4319400 w 4346099"/>
              <a:gd name="connsiteY2-64" fmla="*/ 2005459 h 9360029"/>
              <a:gd name="connsiteX3-65" fmla="*/ 897612 w 4346099"/>
              <a:gd name="connsiteY3-66" fmla="*/ 9360029 h 9360029"/>
              <a:gd name="connsiteX0-67" fmla="*/ 897612 w 4346099"/>
              <a:gd name="connsiteY0-68" fmla="*/ 9271094 h 9271094"/>
              <a:gd name="connsiteX1-69" fmla="*/ 237678 w 4346099"/>
              <a:gd name="connsiteY1-70" fmla="*/ 0 h 9271094"/>
              <a:gd name="connsiteX2-71" fmla="*/ 4319400 w 4346099"/>
              <a:gd name="connsiteY2-72" fmla="*/ 1916524 h 9271094"/>
              <a:gd name="connsiteX3-73" fmla="*/ 897612 w 4346099"/>
              <a:gd name="connsiteY3-74" fmla="*/ 9271094 h 9271094"/>
              <a:gd name="connsiteX0-75" fmla="*/ 897612 w 4346099"/>
              <a:gd name="connsiteY0-76" fmla="*/ 9271094 h 9271094"/>
              <a:gd name="connsiteX1-77" fmla="*/ 237678 w 4346099"/>
              <a:gd name="connsiteY1-78" fmla="*/ 0 h 9271094"/>
              <a:gd name="connsiteX2-79" fmla="*/ 4319400 w 4346099"/>
              <a:gd name="connsiteY2-80" fmla="*/ 1916524 h 9271094"/>
              <a:gd name="connsiteX3-81" fmla="*/ 897612 w 4346099"/>
              <a:gd name="connsiteY3-82" fmla="*/ 9271094 h 9271094"/>
              <a:gd name="connsiteX0-83" fmla="*/ 897612 w 4352589"/>
              <a:gd name="connsiteY0-84" fmla="*/ 9271094 h 9271094"/>
              <a:gd name="connsiteX1-85" fmla="*/ 237678 w 4352589"/>
              <a:gd name="connsiteY1-86" fmla="*/ 0 h 9271094"/>
              <a:gd name="connsiteX2-87" fmla="*/ 4319400 w 4352589"/>
              <a:gd name="connsiteY2-88" fmla="*/ 1916524 h 9271094"/>
              <a:gd name="connsiteX3-89" fmla="*/ 897612 w 4352589"/>
              <a:gd name="connsiteY3-90" fmla="*/ 9271094 h 9271094"/>
              <a:gd name="connsiteX0-91" fmla="*/ 897612 w 4319400"/>
              <a:gd name="connsiteY0-92" fmla="*/ 9271094 h 9271094"/>
              <a:gd name="connsiteX1-93" fmla="*/ 237678 w 4319400"/>
              <a:gd name="connsiteY1-94" fmla="*/ 0 h 9271094"/>
              <a:gd name="connsiteX2-95" fmla="*/ 4319400 w 4319400"/>
              <a:gd name="connsiteY2-96" fmla="*/ 1916524 h 9271094"/>
              <a:gd name="connsiteX3-97" fmla="*/ 897612 w 4319400"/>
              <a:gd name="connsiteY3-98" fmla="*/ 9271094 h 9271094"/>
              <a:gd name="connsiteX0-99" fmla="*/ 897612 w 4319400"/>
              <a:gd name="connsiteY0-100" fmla="*/ 9271094 h 9271094"/>
              <a:gd name="connsiteX1-101" fmla="*/ 237678 w 4319400"/>
              <a:gd name="connsiteY1-102" fmla="*/ 0 h 9271094"/>
              <a:gd name="connsiteX2-103" fmla="*/ 4319400 w 4319400"/>
              <a:gd name="connsiteY2-104" fmla="*/ 1916524 h 9271094"/>
              <a:gd name="connsiteX3-105" fmla="*/ 897612 w 4319400"/>
              <a:gd name="connsiteY3-106" fmla="*/ 9271094 h 9271094"/>
              <a:gd name="connsiteX0-107" fmla="*/ 897612 w 4349484"/>
              <a:gd name="connsiteY0-108" fmla="*/ 9271094 h 9271094"/>
              <a:gd name="connsiteX1-109" fmla="*/ 237678 w 4349484"/>
              <a:gd name="connsiteY1-110" fmla="*/ 0 h 9271094"/>
              <a:gd name="connsiteX2-111" fmla="*/ 4349484 w 4349484"/>
              <a:gd name="connsiteY2-112" fmla="*/ 1941133 h 9271094"/>
              <a:gd name="connsiteX3-113" fmla="*/ 897612 w 4349484"/>
              <a:gd name="connsiteY3-114" fmla="*/ 9271094 h 9271094"/>
              <a:gd name="connsiteX0-115" fmla="*/ 897612 w 4349484"/>
              <a:gd name="connsiteY0-116" fmla="*/ 9271094 h 9271094"/>
              <a:gd name="connsiteX1-117" fmla="*/ 237678 w 4349484"/>
              <a:gd name="connsiteY1-118" fmla="*/ 0 h 9271094"/>
              <a:gd name="connsiteX2-119" fmla="*/ 4349484 w 4349484"/>
              <a:gd name="connsiteY2-120" fmla="*/ 1941133 h 9271094"/>
              <a:gd name="connsiteX3-121" fmla="*/ 897612 w 4349484"/>
              <a:gd name="connsiteY3-122" fmla="*/ 9271094 h 9271094"/>
              <a:gd name="connsiteX0-123" fmla="*/ 2139748 w 5591620"/>
              <a:gd name="connsiteY0-124" fmla="*/ 9271094 h 9271094"/>
              <a:gd name="connsiteX1-125" fmla="*/ 1479814 w 5591620"/>
              <a:gd name="connsiteY1-126" fmla="*/ 0 h 9271094"/>
              <a:gd name="connsiteX2-127" fmla="*/ 5591620 w 5591620"/>
              <a:gd name="connsiteY2-128" fmla="*/ 1941133 h 9271094"/>
              <a:gd name="connsiteX3-129" fmla="*/ 2139748 w 5591620"/>
              <a:gd name="connsiteY3-130" fmla="*/ 9271094 h 9271094"/>
              <a:gd name="connsiteX0-131" fmla="*/ 2815889 w 6267761"/>
              <a:gd name="connsiteY0-132" fmla="*/ 9271094 h 9271094"/>
              <a:gd name="connsiteX1-133" fmla="*/ 2155955 w 6267761"/>
              <a:gd name="connsiteY1-134" fmla="*/ 0 h 9271094"/>
              <a:gd name="connsiteX2-135" fmla="*/ 6267761 w 6267761"/>
              <a:gd name="connsiteY2-136" fmla="*/ 1941133 h 9271094"/>
              <a:gd name="connsiteX3-137" fmla="*/ 2815889 w 6267761"/>
              <a:gd name="connsiteY3-138" fmla="*/ 9271094 h 9271094"/>
              <a:gd name="connsiteX0-139" fmla="*/ 2683151 w 6412950"/>
              <a:gd name="connsiteY0-140" fmla="*/ 9838332 h 9838332"/>
              <a:gd name="connsiteX1-141" fmla="*/ 2301144 w 6412950"/>
              <a:gd name="connsiteY1-142" fmla="*/ 0 h 9838332"/>
              <a:gd name="connsiteX2-143" fmla="*/ 6412950 w 6412950"/>
              <a:gd name="connsiteY2-144" fmla="*/ 1941133 h 9838332"/>
              <a:gd name="connsiteX3-145" fmla="*/ 2683151 w 6412950"/>
              <a:gd name="connsiteY3-146" fmla="*/ 9838332 h 9838332"/>
              <a:gd name="connsiteX0-147" fmla="*/ 2888273 w 6618072"/>
              <a:gd name="connsiteY0-148" fmla="*/ 9838332 h 9838332"/>
              <a:gd name="connsiteX1-149" fmla="*/ 2506266 w 6618072"/>
              <a:gd name="connsiteY1-150" fmla="*/ 0 h 9838332"/>
              <a:gd name="connsiteX2-151" fmla="*/ 6618072 w 6618072"/>
              <a:gd name="connsiteY2-152" fmla="*/ 1941133 h 9838332"/>
              <a:gd name="connsiteX3-153" fmla="*/ 2888273 w 6618072"/>
              <a:gd name="connsiteY3-154" fmla="*/ 9838332 h 9838332"/>
              <a:gd name="connsiteX0-155" fmla="*/ 2900469 w 6630268"/>
              <a:gd name="connsiteY0-156" fmla="*/ 9838332 h 9838332"/>
              <a:gd name="connsiteX1-157" fmla="*/ 2518462 w 6630268"/>
              <a:gd name="connsiteY1-158" fmla="*/ 0 h 9838332"/>
              <a:gd name="connsiteX2-159" fmla="*/ 6630268 w 6630268"/>
              <a:gd name="connsiteY2-160" fmla="*/ 1941133 h 9838332"/>
              <a:gd name="connsiteX3-161" fmla="*/ 2900469 w 6630268"/>
              <a:gd name="connsiteY3-162" fmla="*/ 9838332 h 9838332"/>
              <a:gd name="connsiteX0-163" fmla="*/ 2955158 w 6684957"/>
              <a:gd name="connsiteY0-164" fmla="*/ 9838332 h 9838332"/>
              <a:gd name="connsiteX1-165" fmla="*/ 2573151 w 6684957"/>
              <a:gd name="connsiteY1-166" fmla="*/ 0 h 9838332"/>
              <a:gd name="connsiteX2-167" fmla="*/ 6684957 w 6684957"/>
              <a:gd name="connsiteY2-168" fmla="*/ 1941133 h 9838332"/>
              <a:gd name="connsiteX3-169" fmla="*/ 2955158 w 6684957"/>
              <a:gd name="connsiteY3-170" fmla="*/ 9838332 h 9838332"/>
              <a:gd name="connsiteX0-171" fmla="*/ 2929913 w 6717995"/>
              <a:gd name="connsiteY0-172" fmla="*/ 10021467 h 10021467"/>
              <a:gd name="connsiteX1-173" fmla="*/ 2606189 w 6717995"/>
              <a:gd name="connsiteY1-174" fmla="*/ 0 h 10021467"/>
              <a:gd name="connsiteX2-175" fmla="*/ 6717995 w 6717995"/>
              <a:gd name="connsiteY2-176" fmla="*/ 1941133 h 10021467"/>
              <a:gd name="connsiteX3-177" fmla="*/ 2929913 w 6717995"/>
              <a:gd name="connsiteY3-178" fmla="*/ 10021467 h 10021467"/>
              <a:gd name="connsiteX0-179" fmla="*/ 3062568 w 6850650"/>
              <a:gd name="connsiteY0-180" fmla="*/ 10021467 h 10021467"/>
              <a:gd name="connsiteX1-181" fmla="*/ 2738844 w 6850650"/>
              <a:gd name="connsiteY1-182" fmla="*/ 0 h 10021467"/>
              <a:gd name="connsiteX2-183" fmla="*/ 6850650 w 6850650"/>
              <a:gd name="connsiteY2-184" fmla="*/ 1941133 h 10021467"/>
              <a:gd name="connsiteX3-185" fmla="*/ 3062568 w 6850650"/>
              <a:gd name="connsiteY3-186" fmla="*/ 10021467 h 10021467"/>
              <a:gd name="connsiteX0-187" fmla="*/ 3136523 w 6751260"/>
              <a:gd name="connsiteY0-188" fmla="*/ 9653891 h 9653891"/>
              <a:gd name="connsiteX1-189" fmla="*/ 2639454 w 6751260"/>
              <a:gd name="connsiteY1-190" fmla="*/ 0 h 9653891"/>
              <a:gd name="connsiteX2-191" fmla="*/ 6751260 w 6751260"/>
              <a:gd name="connsiteY2-192" fmla="*/ 1941133 h 9653891"/>
              <a:gd name="connsiteX3-193" fmla="*/ 3136523 w 6751260"/>
              <a:gd name="connsiteY3-194" fmla="*/ 9653891 h 9653891"/>
              <a:gd name="connsiteX0-195" fmla="*/ 3003367 w 6618104"/>
              <a:gd name="connsiteY0-196" fmla="*/ 9653891 h 9653891"/>
              <a:gd name="connsiteX1-197" fmla="*/ 2506298 w 6618104"/>
              <a:gd name="connsiteY1-198" fmla="*/ 0 h 9653891"/>
              <a:gd name="connsiteX2-199" fmla="*/ 6618104 w 6618104"/>
              <a:gd name="connsiteY2-200" fmla="*/ 1941133 h 9653891"/>
              <a:gd name="connsiteX3-201" fmla="*/ 3003367 w 6618104"/>
              <a:gd name="connsiteY3-202" fmla="*/ 9653891 h 965389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6618104" h="9653891">
                <a:moveTo>
                  <a:pt x="3003367" y="9653891"/>
                </a:moveTo>
                <a:cubicBezTo>
                  <a:pt x="-1676241" y="7049478"/>
                  <a:pt x="-122763" y="2972093"/>
                  <a:pt x="2506298" y="0"/>
                </a:cubicBezTo>
                <a:cubicBezTo>
                  <a:pt x="3306648" y="333325"/>
                  <a:pt x="5892883" y="1608608"/>
                  <a:pt x="6618104" y="1941133"/>
                </a:cubicBezTo>
                <a:cubicBezTo>
                  <a:pt x="6303123" y="2744278"/>
                  <a:pt x="3600779" y="8296056"/>
                  <a:pt x="3003367" y="965389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5" name="椭圆 14"/>
          <p:cNvSpPr/>
          <p:nvPr userDrawn="1"/>
        </p:nvSpPr>
        <p:spPr bwMode="auto">
          <a:xfrm>
            <a:off x="533400" y="923925"/>
            <a:ext cx="1617663" cy="16176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16" name="TextBox 53"/>
          <p:cNvSpPr txBox="1">
            <a:spLocks noChangeArrowheads="1"/>
          </p:cNvSpPr>
          <p:nvPr userDrawn="1"/>
        </p:nvSpPr>
        <p:spPr bwMode="auto">
          <a:xfrm>
            <a:off x="544513" y="1365250"/>
            <a:ext cx="1595437" cy="7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ts val="2500"/>
              </a:lnSpc>
              <a:defRPr/>
            </a:pPr>
            <a:r>
              <a:rPr lang="en-US" altLang="zh-CN" sz="2000" b="1" smtClean="0">
                <a:latin typeface="Arial" panose="020B0604020202020204" pitchFamily="34" charset="0"/>
                <a:ea typeface="方正粗圆简体" panose="02010601030101010101" pitchFamily="65" charset="-122"/>
              </a:rPr>
              <a:t>Business</a:t>
            </a:r>
            <a:endParaRPr lang="en-US" altLang="zh-CN" sz="2000" b="1" smtClean="0">
              <a:latin typeface="Arial" panose="020B0604020202020204" pitchFamily="34" charset="0"/>
              <a:ea typeface="方正粗圆简体" panose="02010601030101010101" pitchFamily="65" charset="-122"/>
            </a:endParaRPr>
          </a:p>
          <a:p>
            <a:pPr algn="ctr" eaLnBrk="1" hangingPunct="1">
              <a:lnSpc>
                <a:spcPts val="2500"/>
              </a:lnSpc>
              <a:defRPr/>
            </a:pPr>
            <a:r>
              <a:rPr lang="en-US" altLang="zh-CN" sz="2000" b="1" smtClean="0">
                <a:latin typeface="Arial" panose="020B0604020202020204" pitchFamily="34" charset="0"/>
                <a:ea typeface="方正粗圆简体" panose="02010601030101010101" pitchFamily="65" charset="-122"/>
              </a:rPr>
              <a:t>PowerPoint</a:t>
            </a:r>
            <a:endParaRPr lang="zh-CN" altLang="en-US" sz="2000" b="1" smtClean="0">
              <a:latin typeface="Arial" panose="020B0604020202020204" pitchFamily="34" charset="0"/>
              <a:ea typeface="方正粗圆简体" panose="02010601030101010101" pitchFamily="65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8" Type="http://schemas.openxmlformats.org/officeDocument/2006/relationships/slideLayout" Target="../slideLayouts/slideLayout7.xml"/><Relationship Id="rId17" Type="http://schemas.openxmlformats.org/officeDocument/2006/relationships/image" Target="../media/image1.png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.png"/><Relationship Id="rId1" Type="http://schemas.openxmlformats.org/officeDocument/2006/relationships/image" Target="../media/image3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椭圆 4"/>
          <p:cNvSpPr/>
          <p:nvPr/>
        </p:nvSpPr>
        <p:spPr>
          <a:xfrm>
            <a:off x="1211263" y="1589088"/>
            <a:ext cx="1619250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6" name="椭圆 5"/>
          <p:cNvSpPr/>
          <p:nvPr/>
        </p:nvSpPr>
        <p:spPr>
          <a:xfrm>
            <a:off x="2913063" y="1589088"/>
            <a:ext cx="1617662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" name="椭圆 6"/>
          <p:cNvSpPr/>
          <p:nvPr/>
        </p:nvSpPr>
        <p:spPr>
          <a:xfrm>
            <a:off x="4613275" y="1589088"/>
            <a:ext cx="1617663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6313488" y="1589088"/>
            <a:ext cx="1619250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1211263" y="3308350"/>
            <a:ext cx="1619250" cy="16176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2913063" y="3308350"/>
            <a:ext cx="1617662" cy="16176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1" name="椭圆 10"/>
          <p:cNvSpPr/>
          <p:nvPr/>
        </p:nvSpPr>
        <p:spPr>
          <a:xfrm>
            <a:off x="4613275" y="3308350"/>
            <a:ext cx="1617663" cy="1617663"/>
          </a:xfrm>
          <a:prstGeom prst="ellipse">
            <a:avLst/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2" name="椭圆 11"/>
          <p:cNvSpPr/>
          <p:nvPr/>
        </p:nvSpPr>
        <p:spPr>
          <a:xfrm>
            <a:off x="6313488" y="3308350"/>
            <a:ext cx="1619250" cy="1617663"/>
          </a:xfrm>
          <a:prstGeom prst="ellipse">
            <a:avLst/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13" name="组合 12"/>
          <p:cNvGrpSpPr/>
          <p:nvPr/>
        </p:nvGrpSpPr>
        <p:grpSpPr bwMode="auto">
          <a:xfrm>
            <a:off x="1946275" y="417513"/>
            <a:ext cx="4776788" cy="892175"/>
            <a:chOff x="3791885" y="638928"/>
            <a:chExt cx="4776904" cy="892733"/>
          </a:xfrm>
        </p:grpSpPr>
        <p:sp>
          <p:nvSpPr>
            <p:cNvPr id="14376" name="TextBox 22"/>
            <p:cNvSpPr txBox="1">
              <a:spLocks noChangeArrowheads="1"/>
            </p:cNvSpPr>
            <p:nvPr/>
          </p:nvSpPr>
          <p:spPr bwMode="auto">
            <a:xfrm>
              <a:off x="3791885" y="638928"/>
              <a:ext cx="3339458" cy="64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3600" b="1">
                  <a:solidFill>
                    <a:srgbClr val="F49100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POWER</a:t>
              </a:r>
              <a:r>
                <a:rPr lang="en-US" altLang="zh-CN" sz="3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POINT</a:t>
              </a:r>
              <a:endParaRPr lang="en-US" altLang="zh-CN" sz="36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5" name="矩形 14"/>
            <p:cNvSpPr>
              <a:spLocks noChangeArrowheads="1"/>
            </p:cNvSpPr>
            <p:nvPr/>
          </p:nvSpPr>
          <p:spPr bwMode="auto">
            <a:xfrm>
              <a:off x="5306359" y="1069997"/>
              <a:ext cx="3262430" cy="461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400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zh-CN" altLang="en-US" sz="2400" dirty="0">
                <a:solidFill>
                  <a:schemeClr val="bg1">
                    <a:alpha val="63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TextBox 83"/>
            <p:cNvSpPr txBox="1">
              <a:spLocks noChangeArrowheads="1"/>
            </p:cNvSpPr>
            <p:nvPr/>
          </p:nvSpPr>
          <p:spPr bwMode="auto">
            <a:xfrm>
              <a:off x="3806617" y="1131703"/>
              <a:ext cx="172354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b="1" dirty="0" smtClean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适用于</a:t>
              </a:r>
              <a:r>
                <a:rPr lang="zh-CN" altLang="en-US" sz="1000" b="1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商务</a:t>
              </a:r>
              <a:r>
                <a:rPr lang="zh-CN" altLang="en-US" sz="1000" b="1" dirty="0" smtClean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及</a:t>
              </a:r>
              <a:r>
                <a:rPr lang="zh-CN" altLang="en-US" sz="1000" b="1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关类别演示</a:t>
              </a:r>
              <a:endParaRPr lang="zh-CN" altLang="en-US" sz="1000" b="1" dirty="0">
                <a:solidFill>
                  <a:schemeClr val="bg1">
                    <a:alpha val="63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1517650" y="1612900"/>
            <a:ext cx="1006475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3184525" y="1612900"/>
            <a:ext cx="1074738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>
            <a:spLocks noChangeArrowheads="1"/>
          </p:cNvSpPr>
          <p:nvPr/>
        </p:nvSpPr>
        <p:spPr bwMode="auto">
          <a:xfrm>
            <a:off x="4884738" y="1612900"/>
            <a:ext cx="1006475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6859588" y="1612900"/>
            <a:ext cx="527050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1484313" y="3332163"/>
            <a:ext cx="1073150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>
            <a:spLocks noChangeArrowheads="1"/>
          </p:cNvSpPr>
          <p:nvPr/>
        </p:nvSpPr>
        <p:spPr bwMode="auto">
          <a:xfrm>
            <a:off x="3219450" y="3332163"/>
            <a:ext cx="1004888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19691" y="3332258"/>
            <a:ext cx="1005403" cy="156966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600" dirty="0">
                <a:solidFill>
                  <a:schemeClr val="bg1">
                    <a:alpha val="33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</a:t>
            </a:r>
            <a:endParaRPr lang="zh-CN" altLang="en-US" sz="9600" dirty="0">
              <a:solidFill>
                <a:schemeClr val="bg1">
                  <a:alpha val="33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20475" y="3332258"/>
            <a:ext cx="1005403" cy="156966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600" dirty="0">
                <a:solidFill>
                  <a:schemeClr val="bg1">
                    <a:alpha val="33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</a:t>
            </a:r>
            <a:endParaRPr lang="zh-CN" altLang="en-US" sz="9600" dirty="0">
              <a:solidFill>
                <a:schemeClr val="bg1">
                  <a:alpha val="33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椭圆 24"/>
          <p:cNvSpPr/>
          <p:nvPr/>
        </p:nvSpPr>
        <p:spPr>
          <a:xfrm>
            <a:off x="3394075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26" name="椭圆 25"/>
          <p:cNvSpPr/>
          <p:nvPr/>
        </p:nvSpPr>
        <p:spPr>
          <a:xfrm>
            <a:off x="3879850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27" name="椭圆 26"/>
          <p:cNvSpPr/>
          <p:nvPr/>
        </p:nvSpPr>
        <p:spPr>
          <a:xfrm>
            <a:off x="4364038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28" name="椭圆 27"/>
          <p:cNvSpPr/>
          <p:nvPr/>
        </p:nvSpPr>
        <p:spPr>
          <a:xfrm>
            <a:off x="4849813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29" name="椭圆 28"/>
          <p:cNvSpPr/>
          <p:nvPr/>
        </p:nvSpPr>
        <p:spPr>
          <a:xfrm>
            <a:off x="5334000" y="3063875"/>
            <a:ext cx="398463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0" name="椭圆 29"/>
          <p:cNvSpPr/>
          <p:nvPr/>
        </p:nvSpPr>
        <p:spPr>
          <a:xfrm>
            <a:off x="5819775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1" name="椭圆 30"/>
          <p:cNvSpPr/>
          <p:nvPr/>
        </p:nvSpPr>
        <p:spPr>
          <a:xfrm>
            <a:off x="2909888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2" name="椭圆 31"/>
          <p:cNvSpPr/>
          <p:nvPr/>
        </p:nvSpPr>
        <p:spPr>
          <a:xfrm>
            <a:off x="2749550" y="209550"/>
            <a:ext cx="1133475" cy="1133475"/>
          </a:xfrm>
          <a:prstGeom prst="ellipse">
            <a:avLst/>
          </a:prstGeom>
          <a:solidFill>
            <a:srgbClr val="FFC00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3" name="椭圆 32"/>
          <p:cNvSpPr/>
          <p:nvPr/>
        </p:nvSpPr>
        <p:spPr>
          <a:xfrm>
            <a:off x="7626350" y="962025"/>
            <a:ext cx="790575" cy="790575"/>
          </a:xfrm>
          <a:prstGeom prst="ellipse">
            <a:avLst/>
          </a:prstGeom>
          <a:solidFill>
            <a:srgbClr val="FFC000">
              <a:alpha val="5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4" name="椭圆 33"/>
          <p:cNvSpPr/>
          <p:nvPr/>
        </p:nvSpPr>
        <p:spPr>
          <a:xfrm>
            <a:off x="7626350" y="4110038"/>
            <a:ext cx="790575" cy="790575"/>
          </a:xfrm>
          <a:prstGeom prst="ellipse">
            <a:avLst/>
          </a:prstGeom>
          <a:solidFill>
            <a:srgbClr val="FFC000">
              <a:alpha val="5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5" name="椭圆 34"/>
          <p:cNvSpPr/>
          <p:nvPr/>
        </p:nvSpPr>
        <p:spPr>
          <a:xfrm>
            <a:off x="8324850" y="2676525"/>
            <a:ext cx="304800" cy="304800"/>
          </a:xfrm>
          <a:prstGeom prst="ellipse">
            <a:avLst/>
          </a:prstGeom>
          <a:solidFill>
            <a:srgbClr val="FFC00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6" name="椭圆 35"/>
          <p:cNvSpPr/>
          <p:nvPr/>
        </p:nvSpPr>
        <p:spPr>
          <a:xfrm>
            <a:off x="447675" y="3768725"/>
            <a:ext cx="1133475" cy="1133475"/>
          </a:xfrm>
          <a:prstGeom prst="ellipse">
            <a:avLst/>
          </a:prstGeom>
          <a:solidFill>
            <a:srgbClr val="FFC00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7" name="椭圆 36"/>
          <p:cNvSpPr/>
          <p:nvPr/>
        </p:nvSpPr>
        <p:spPr>
          <a:xfrm>
            <a:off x="2322513" y="1435100"/>
            <a:ext cx="679450" cy="679450"/>
          </a:xfrm>
          <a:prstGeom prst="ellipse">
            <a:avLst/>
          </a:prstGeom>
          <a:solidFill>
            <a:srgbClr val="FFC00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8" name="椭圆 37"/>
          <p:cNvSpPr/>
          <p:nvPr/>
        </p:nvSpPr>
        <p:spPr>
          <a:xfrm>
            <a:off x="2535238" y="2944813"/>
            <a:ext cx="681037" cy="681037"/>
          </a:xfrm>
          <a:prstGeom prst="ellipse">
            <a:avLst/>
          </a:prstGeom>
          <a:solidFill>
            <a:srgbClr val="FFC000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9" name="椭圆 38"/>
          <p:cNvSpPr/>
          <p:nvPr/>
        </p:nvSpPr>
        <p:spPr>
          <a:xfrm>
            <a:off x="6135688" y="849313"/>
            <a:ext cx="681037" cy="681037"/>
          </a:xfrm>
          <a:prstGeom prst="ellipse">
            <a:avLst/>
          </a:prstGeom>
          <a:solidFill>
            <a:srgbClr val="FFC00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0" name="椭圆 39"/>
          <p:cNvSpPr/>
          <p:nvPr/>
        </p:nvSpPr>
        <p:spPr>
          <a:xfrm>
            <a:off x="6135688" y="2676525"/>
            <a:ext cx="679450" cy="681038"/>
          </a:xfrm>
          <a:prstGeom prst="ellipse">
            <a:avLst/>
          </a:prstGeom>
          <a:solidFill>
            <a:srgbClr val="FFC000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1" name="椭圆 40"/>
          <p:cNvSpPr/>
          <p:nvPr/>
        </p:nvSpPr>
        <p:spPr>
          <a:xfrm>
            <a:off x="447675" y="2524125"/>
            <a:ext cx="304800" cy="304800"/>
          </a:xfrm>
          <a:prstGeom prst="ellipse">
            <a:avLst/>
          </a:prstGeom>
          <a:solidFill>
            <a:srgbClr val="FFC00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2" name="椭圆 41"/>
          <p:cNvSpPr/>
          <p:nvPr/>
        </p:nvSpPr>
        <p:spPr>
          <a:xfrm>
            <a:off x="1809750" y="2981325"/>
            <a:ext cx="304800" cy="304800"/>
          </a:xfrm>
          <a:prstGeom prst="ellipse">
            <a:avLst/>
          </a:prstGeom>
          <a:solidFill>
            <a:srgbClr val="FFC00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4" name="圆角矩形 43"/>
          <p:cNvSpPr/>
          <p:nvPr/>
        </p:nvSpPr>
        <p:spPr>
          <a:xfrm>
            <a:off x="1202055" y="455930"/>
            <a:ext cx="718820" cy="784225"/>
          </a:xfrm>
          <a:prstGeom prst="roundRect">
            <a:avLst/>
          </a:prstGeom>
          <a:noFill/>
          <a:ln w="12700">
            <a:solidFill>
              <a:srgbClr val="F7AD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3.05556E-6 7.09439E-7 L 0.05503 0.00092 " pathEditMode="relative" rAng="0" ptsTypes="AA">
                                      <p:cBhvr>
                                        <p:cTn id="27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43" y="31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2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3.33333E-6 3.20988E-6 L -0.05364 0.00061 " pathEditMode="relative" rAng="0" ptsTypes="AA">
                                      <p:cBhvr>
                                        <p:cTn id="31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91" y="31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2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1.94444E-6 3.20988E-6 L 0.10452 0.00061 " pathEditMode="relative" rAng="0" ptsTypes="AA">
                                      <p:cBhvr>
                                        <p:cTn id="35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26" y="31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4.72222E-6 3.20988E-6 L -0.10659 0.00061 " pathEditMode="relative" rAng="0" ptsTypes="AA">
                                      <p:cBhvr>
                                        <p:cTn id="39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30" y="31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" presetClass="exit" presetSubtype="0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5.55556E-7 3.20988E-6 L 0.15747 0.00061 " pathEditMode="relative" rAng="0" ptsTypes="AA">
                                      <p:cBhvr>
                                        <p:cTn id="43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65" y="31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" presetClass="exit" presetSubtype="0" fill="hold" grpId="2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77778E-7 3.20988E-6 L -0.16076 0.00154 " pathEditMode="relative" rAng="0" ptsTypes="AA">
                                      <p:cBhvr>
                                        <p:cTn id="47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38" y="6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xit" presetSubtype="0" fill="hold" grpId="2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7" presetClass="emph" presetSubtype="0" repeatCount="3000" fill="remove" grpId="1" nodeType="withEffect">
                                  <p:stCondLst>
                                    <p:cond delay="105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1" dur="100" autoRev="1" fill="remove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2" dur="100" autoRev="1" fill="remove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3" dur="100" autoRev="1" fill="remove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4" dur="100" autoRev="1" fill="remove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6" presetClass="exit" presetSubtype="32" fill="hold" grpId="2" nodeType="withEffect">
                                  <p:stCondLst>
                                    <p:cond delay="175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56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23" presetClass="entr" presetSubtype="528" repeatCount="2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25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28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31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34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37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40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43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46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49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52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6" presetClass="exit" presetSubtype="16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155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23" presetClass="entr" presetSubtype="528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3" presetID="23" presetClass="entr" presetSubtype="528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3" presetClass="entr" presetSubtype="528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1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2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5" presetID="23" presetClass="entr" presetSubtype="528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7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9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3" presetClass="entr" presetSubtype="528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3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7" presetID="23" presetClass="entr" presetSubtype="528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1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2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3" presetClass="entr" presetSubtype="528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5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9" presetID="23" presetClass="entr" presetSubtype="528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1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4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8" presetClass="emph" presetSubtype="0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animRot by="21600000">
                                      <p:cBhvr>
                                        <p:cTn id="210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1" presetID="2" presetClass="entr" presetSubtype="8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3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4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5" presetID="8" presetClass="emph" presetSubtype="0" fill="hold" grpId="1" nodeType="withEffect">
                                  <p:stCondLst>
                                    <p:cond delay="2600"/>
                                  </p:stCondLst>
                                  <p:childTnLst>
                                    <p:animRot by="21600000">
                                      <p:cBhvr>
                                        <p:cTn id="216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7" presetID="2" presetClass="entr" presetSubtype="8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8" presetClass="emph" presetSubtype="0" fill="hold" grpId="1" nodeType="withEffect">
                                  <p:stCondLst>
                                    <p:cond delay="2700"/>
                                  </p:stCondLst>
                                  <p:childTnLst>
                                    <p:animRot by="21600000">
                                      <p:cBhvr>
                                        <p:cTn id="222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23" presetID="2" presetClass="entr" presetSubtype="8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5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6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7" presetID="8" presetClass="emph" presetSubtype="0" fill="hold" grpId="1" nodeType="withEffect">
                                  <p:stCondLst>
                                    <p:cond delay="2800"/>
                                  </p:stCondLst>
                                  <p:childTnLst>
                                    <p:animRot by="21600000">
                                      <p:cBhvr>
                                        <p:cTn id="228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29" presetID="2" presetClass="entr" presetSubtype="2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3" presetID="8" presetClass="emph" presetSubtype="0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animRot by="21600000">
                                      <p:cBhvr>
                                        <p:cTn id="234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5" presetID="2" presetClass="entr" presetSubtype="2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7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8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9" presetID="8" presetClass="emph" presetSubtype="0" fill="hold" grpId="1" nodeType="withEffect">
                                  <p:stCondLst>
                                    <p:cond delay="2600"/>
                                  </p:stCondLst>
                                  <p:childTnLst>
                                    <p:animRot by="21600000">
                                      <p:cBhvr>
                                        <p:cTn id="240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41" presetID="2" presetClass="entr" presetSubtype="2" fill="hold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3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4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5" presetID="8" presetClass="emph" presetSubtype="0" fill="hold" nodeType="withEffect">
                                  <p:stCondLst>
                                    <p:cond delay="2700"/>
                                  </p:stCondLst>
                                  <p:childTnLst>
                                    <p:animRot by="21600000">
                                      <p:cBhvr>
                                        <p:cTn id="246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47" presetID="2" presetClass="entr" presetSubtype="2" fill="hold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9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0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1" presetID="8" presetClass="emph" presetSubtype="0" fill="hold" nodeType="withEffect">
                                  <p:stCondLst>
                                    <p:cond delay="2800"/>
                                  </p:stCondLst>
                                  <p:childTnLst>
                                    <p:animRot by="21600000">
                                      <p:cBhvr>
                                        <p:cTn id="252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3" presetID="12" presetClass="entr" presetSubtype="8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5" dur="35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56" dur="3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7" grpId="0"/>
      <p:bldP spid="17" grpId="1"/>
      <p:bldP spid="18" grpId="0"/>
      <p:bldP spid="18" grpId="1"/>
      <p:bldP spid="19" grpId="0"/>
      <p:bldP spid="19" grpId="1"/>
      <p:bldP spid="20" grpId="0"/>
      <p:bldP spid="20" grpId="1"/>
      <p:bldP spid="21" grpId="0"/>
      <p:bldP spid="21" grpId="1"/>
      <p:bldP spid="22" grpId="0"/>
      <p:bldP spid="22" grpId="1"/>
      <p:bldP spid="25" grpId="0" animBg="1"/>
      <p:bldP spid="25" grpId="1" animBg="1"/>
      <p:bldP spid="25" grpId="2" animBg="1"/>
      <p:bldP spid="26" grpId="0" animBg="1"/>
      <p:bldP spid="26" grpId="1" animBg="1"/>
      <p:bldP spid="26" grpId="2" animBg="1"/>
      <p:bldP spid="27" grpId="0" animBg="1"/>
      <p:bldP spid="27" grpId="1" animBg="1"/>
      <p:bldP spid="27" grpId="2" animBg="1"/>
      <p:bldP spid="28" grpId="0" animBg="1"/>
      <p:bldP spid="28" grpId="1" animBg="1"/>
      <p:bldP spid="28" grpId="2" animBg="1"/>
      <p:bldP spid="29" grpId="0" animBg="1"/>
      <p:bldP spid="29" grpId="1" animBg="1"/>
      <p:bldP spid="29" grpId="2" animBg="1"/>
      <p:bldP spid="30" grpId="0" animBg="1"/>
      <p:bldP spid="30" grpId="1" animBg="1"/>
      <p:bldP spid="30" grpId="2" animBg="1"/>
      <p:bldP spid="31" grpId="0" animBg="1"/>
      <p:bldP spid="31" grpId="1" animBg="1"/>
      <p:bldP spid="31" grpId="2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36" grpId="0" animBg="1"/>
      <p:bldP spid="36" grpId="1" animBg="1"/>
      <p:bldP spid="37" grpId="0" animBg="1"/>
      <p:bldP spid="37" grpId="1" animBg="1"/>
      <p:bldP spid="38" grpId="0" animBg="1"/>
      <p:bldP spid="38" grpId="1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矩形 45"/>
          <p:cNvSpPr/>
          <p:nvPr/>
        </p:nvSpPr>
        <p:spPr>
          <a:xfrm>
            <a:off x="1588" y="-1588"/>
            <a:ext cx="9136062" cy="5141913"/>
          </a:xfrm>
          <a:prstGeom prst="rect">
            <a:avLst/>
          </a:prstGeom>
          <a:solidFill>
            <a:schemeClr val="tx1"/>
          </a:solidFill>
          <a:ln w="9525">
            <a:solidFill>
              <a:srgbClr val="FFC000">
                <a:alpha val="3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" name="弦形 5"/>
          <p:cNvSpPr/>
          <p:nvPr/>
        </p:nvSpPr>
        <p:spPr>
          <a:xfrm rot="3885112">
            <a:off x="1826419" y="-1439069"/>
            <a:ext cx="6618288" cy="9655175"/>
          </a:xfrm>
          <a:custGeom>
            <a:avLst/>
            <a:gdLst>
              <a:gd name="connsiteX0" fmla="*/ 3358568 w 4320534"/>
              <a:gd name="connsiteY0" fmla="*/ 2638479 h 2880356"/>
              <a:gd name="connsiteX1" fmla="*/ 1384277 w 4320534"/>
              <a:gd name="connsiteY1" fmla="*/ 2784234 h 2880356"/>
              <a:gd name="connsiteX2" fmla="*/ 155843 w 4320534"/>
              <a:gd name="connsiteY2" fmla="*/ 903094 h 2880356"/>
              <a:gd name="connsiteX3" fmla="*/ 2160268 w 4320534"/>
              <a:gd name="connsiteY3" fmla="*/ 0 h 2880356"/>
              <a:gd name="connsiteX4" fmla="*/ 3358568 w 4320534"/>
              <a:gd name="connsiteY4" fmla="*/ 2638479 h 2880356"/>
              <a:gd name="connsiteX0-1" fmla="*/ 2938776 w 2938776"/>
              <a:gd name="connsiteY0-2" fmla="*/ 5722799 h 5742336"/>
              <a:gd name="connsiteX1-3" fmla="*/ 1327163 w 2938776"/>
              <a:gd name="connsiteY1-4" fmla="*/ 2784234 h 5742336"/>
              <a:gd name="connsiteX2-5" fmla="*/ 98729 w 2938776"/>
              <a:gd name="connsiteY2-6" fmla="*/ 903094 h 5742336"/>
              <a:gd name="connsiteX3-7" fmla="*/ 2103154 w 2938776"/>
              <a:gd name="connsiteY3-8" fmla="*/ 0 h 5742336"/>
              <a:gd name="connsiteX4-9" fmla="*/ 2938776 w 2938776"/>
              <a:gd name="connsiteY4-10" fmla="*/ 5722799 h 5742336"/>
              <a:gd name="connsiteX0-11" fmla="*/ 2938776 w 6387263"/>
              <a:gd name="connsiteY0-12" fmla="*/ 7354570 h 7374107"/>
              <a:gd name="connsiteX1-13" fmla="*/ 1327163 w 6387263"/>
              <a:gd name="connsiteY1-14" fmla="*/ 4416005 h 7374107"/>
              <a:gd name="connsiteX2-15" fmla="*/ 98729 w 6387263"/>
              <a:gd name="connsiteY2-16" fmla="*/ 2534865 h 7374107"/>
              <a:gd name="connsiteX3-17" fmla="*/ 6360564 w 6387263"/>
              <a:gd name="connsiteY3-18" fmla="*/ 0 h 7374107"/>
              <a:gd name="connsiteX4-19" fmla="*/ 2938776 w 6387263"/>
              <a:gd name="connsiteY4-20" fmla="*/ 7354570 h 7374107"/>
              <a:gd name="connsiteX0-21" fmla="*/ 1692519 w 5141006"/>
              <a:gd name="connsiteY0-22" fmla="*/ 7423337 h 7446108"/>
              <a:gd name="connsiteX1-23" fmla="*/ 80906 w 5141006"/>
              <a:gd name="connsiteY1-24" fmla="*/ 4484772 h 7446108"/>
              <a:gd name="connsiteX2-25" fmla="*/ 506142 w 5141006"/>
              <a:gd name="connsiteY2-26" fmla="*/ 340438 h 7446108"/>
              <a:gd name="connsiteX3-27" fmla="*/ 5114307 w 5141006"/>
              <a:gd name="connsiteY3-28" fmla="*/ 68767 h 7446108"/>
              <a:gd name="connsiteX4-29" fmla="*/ 1692519 w 5141006"/>
              <a:gd name="connsiteY4-30" fmla="*/ 7423337 h 7446108"/>
              <a:gd name="connsiteX0-31" fmla="*/ 1624600 w 5073087"/>
              <a:gd name="connsiteY0-32" fmla="*/ 9350013 h 9377066"/>
              <a:gd name="connsiteX1-33" fmla="*/ 12987 w 5073087"/>
              <a:gd name="connsiteY1-34" fmla="*/ 6411448 h 9377066"/>
              <a:gd name="connsiteX2-35" fmla="*/ 964666 w 5073087"/>
              <a:gd name="connsiteY2-36" fmla="*/ 78919 h 9377066"/>
              <a:gd name="connsiteX3-37" fmla="*/ 5046388 w 5073087"/>
              <a:gd name="connsiteY3-38" fmla="*/ 1995443 h 9377066"/>
              <a:gd name="connsiteX4-39" fmla="*/ 1624600 w 5073087"/>
              <a:gd name="connsiteY4-40" fmla="*/ 9350013 h 9377066"/>
              <a:gd name="connsiteX0-41" fmla="*/ 1923392 w 5371879"/>
              <a:gd name="connsiteY0-42" fmla="*/ 9350013 h 9377066"/>
              <a:gd name="connsiteX1-43" fmla="*/ 311779 w 5371879"/>
              <a:gd name="connsiteY1-44" fmla="*/ 6411448 h 9377066"/>
              <a:gd name="connsiteX2-45" fmla="*/ 1263458 w 5371879"/>
              <a:gd name="connsiteY2-46" fmla="*/ 78919 h 9377066"/>
              <a:gd name="connsiteX3-47" fmla="*/ 5345180 w 5371879"/>
              <a:gd name="connsiteY3-48" fmla="*/ 1995443 h 9377066"/>
              <a:gd name="connsiteX4-49" fmla="*/ 1923392 w 5371879"/>
              <a:gd name="connsiteY4-50" fmla="*/ 9350013 h 9377066"/>
              <a:gd name="connsiteX0-51" fmla="*/ 897612 w 4346099"/>
              <a:gd name="connsiteY0-52" fmla="*/ 9350013 h 9350013"/>
              <a:gd name="connsiteX1-53" fmla="*/ 237678 w 4346099"/>
              <a:gd name="connsiteY1-54" fmla="*/ 78919 h 9350013"/>
              <a:gd name="connsiteX2-55" fmla="*/ 4319400 w 4346099"/>
              <a:gd name="connsiteY2-56" fmla="*/ 1995443 h 9350013"/>
              <a:gd name="connsiteX3-57" fmla="*/ 897612 w 4346099"/>
              <a:gd name="connsiteY3-58" fmla="*/ 9350013 h 9350013"/>
              <a:gd name="connsiteX0-59" fmla="*/ 897612 w 4346099"/>
              <a:gd name="connsiteY0-60" fmla="*/ 9360029 h 9360029"/>
              <a:gd name="connsiteX1-61" fmla="*/ 237678 w 4346099"/>
              <a:gd name="connsiteY1-62" fmla="*/ 88935 h 9360029"/>
              <a:gd name="connsiteX2-63" fmla="*/ 4319400 w 4346099"/>
              <a:gd name="connsiteY2-64" fmla="*/ 2005459 h 9360029"/>
              <a:gd name="connsiteX3-65" fmla="*/ 897612 w 4346099"/>
              <a:gd name="connsiteY3-66" fmla="*/ 9360029 h 9360029"/>
              <a:gd name="connsiteX0-67" fmla="*/ 897612 w 4346099"/>
              <a:gd name="connsiteY0-68" fmla="*/ 9271094 h 9271094"/>
              <a:gd name="connsiteX1-69" fmla="*/ 237678 w 4346099"/>
              <a:gd name="connsiteY1-70" fmla="*/ 0 h 9271094"/>
              <a:gd name="connsiteX2-71" fmla="*/ 4319400 w 4346099"/>
              <a:gd name="connsiteY2-72" fmla="*/ 1916524 h 9271094"/>
              <a:gd name="connsiteX3-73" fmla="*/ 897612 w 4346099"/>
              <a:gd name="connsiteY3-74" fmla="*/ 9271094 h 9271094"/>
              <a:gd name="connsiteX0-75" fmla="*/ 897612 w 4346099"/>
              <a:gd name="connsiteY0-76" fmla="*/ 9271094 h 9271094"/>
              <a:gd name="connsiteX1-77" fmla="*/ 237678 w 4346099"/>
              <a:gd name="connsiteY1-78" fmla="*/ 0 h 9271094"/>
              <a:gd name="connsiteX2-79" fmla="*/ 4319400 w 4346099"/>
              <a:gd name="connsiteY2-80" fmla="*/ 1916524 h 9271094"/>
              <a:gd name="connsiteX3-81" fmla="*/ 897612 w 4346099"/>
              <a:gd name="connsiteY3-82" fmla="*/ 9271094 h 9271094"/>
              <a:gd name="connsiteX0-83" fmla="*/ 897612 w 4352589"/>
              <a:gd name="connsiteY0-84" fmla="*/ 9271094 h 9271094"/>
              <a:gd name="connsiteX1-85" fmla="*/ 237678 w 4352589"/>
              <a:gd name="connsiteY1-86" fmla="*/ 0 h 9271094"/>
              <a:gd name="connsiteX2-87" fmla="*/ 4319400 w 4352589"/>
              <a:gd name="connsiteY2-88" fmla="*/ 1916524 h 9271094"/>
              <a:gd name="connsiteX3-89" fmla="*/ 897612 w 4352589"/>
              <a:gd name="connsiteY3-90" fmla="*/ 9271094 h 9271094"/>
              <a:gd name="connsiteX0-91" fmla="*/ 897612 w 4319400"/>
              <a:gd name="connsiteY0-92" fmla="*/ 9271094 h 9271094"/>
              <a:gd name="connsiteX1-93" fmla="*/ 237678 w 4319400"/>
              <a:gd name="connsiteY1-94" fmla="*/ 0 h 9271094"/>
              <a:gd name="connsiteX2-95" fmla="*/ 4319400 w 4319400"/>
              <a:gd name="connsiteY2-96" fmla="*/ 1916524 h 9271094"/>
              <a:gd name="connsiteX3-97" fmla="*/ 897612 w 4319400"/>
              <a:gd name="connsiteY3-98" fmla="*/ 9271094 h 9271094"/>
              <a:gd name="connsiteX0-99" fmla="*/ 897612 w 4319400"/>
              <a:gd name="connsiteY0-100" fmla="*/ 9271094 h 9271094"/>
              <a:gd name="connsiteX1-101" fmla="*/ 237678 w 4319400"/>
              <a:gd name="connsiteY1-102" fmla="*/ 0 h 9271094"/>
              <a:gd name="connsiteX2-103" fmla="*/ 4319400 w 4319400"/>
              <a:gd name="connsiteY2-104" fmla="*/ 1916524 h 9271094"/>
              <a:gd name="connsiteX3-105" fmla="*/ 897612 w 4319400"/>
              <a:gd name="connsiteY3-106" fmla="*/ 9271094 h 9271094"/>
              <a:gd name="connsiteX0-107" fmla="*/ 897612 w 4349484"/>
              <a:gd name="connsiteY0-108" fmla="*/ 9271094 h 9271094"/>
              <a:gd name="connsiteX1-109" fmla="*/ 237678 w 4349484"/>
              <a:gd name="connsiteY1-110" fmla="*/ 0 h 9271094"/>
              <a:gd name="connsiteX2-111" fmla="*/ 4349484 w 4349484"/>
              <a:gd name="connsiteY2-112" fmla="*/ 1941133 h 9271094"/>
              <a:gd name="connsiteX3-113" fmla="*/ 897612 w 4349484"/>
              <a:gd name="connsiteY3-114" fmla="*/ 9271094 h 9271094"/>
              <a:gd name="connsiteX0-115" fmla="*/ 897612 w 4349484"/>
              <a:gd name="connsiteY0-116" fmla="*/ 9271094 h 9271094"/>
              <a:gd name="connsiteX1-117" fmla="*/ 237678 w 4349484"/>
              <a:gd name="connsiteY1-118" fmla="*/ 0 h 9271094"/>
              <a:gd name="connsiteX2-119" fmla="*/ 4349484 w 4349484"/>
              <a:gd name="connsiteY2-120" fmla="*/ 1941133 h 9271094"/>
              <a:gd name="connsiteX3-121" fmla="*/ 897612 w 4349484"/>
              <a:gd name="connsiteY3-122" fmla="*/ 9271094 h 9271094"/>
              <a:gd name="connsiteX0-123" fmla="*/ 2139748 w 5591620"/>
              <a:gd name="connsiteY0-124" fmla="*/ 9271094 h 9271094"/>
              <a:gd name="connsiteX1-125" fmla="*/ 1479814 w 5591620"/>
              <a:gd name="connsiteY1-126" fmla="*/ 0 h 9271094"/>
              <a:gd name="connsiteX2-127" fmla="*/ 5591620 w 5591620"/>
              <a:gd name="connsiteY2-128" fmla="*/ 1941133 h 9271094"/>
              <a:gd name="connsiteX3-129" fmla="*/ 2139748 w 5591620"/>
              <a:gd name="connsiteY3-130" fmla="*/ 9271094 h 9271094"/>
              <a:gd name="connsiteX0-131" fmla="*/ 2815889 w 6267761"/>
              <a:gd name="connsiteY0-132" fmla="*/ 9271094 h 9271094"/>
              <a:gd name="connsiteX1-133" fmla="*/ 2155955 w 6267761"/>
              <a:gd name="connsiteY1-134" fmla="*/ 0 h 9271094"/>
              <a:gd name="connsiteX2-135" fmla="*/ 6267761 w 6267761"/>
              <a:gd name="connsiteY2-136" fmla="*/ 1941133 h 9271094"/>
              <a:gd name="connsiteX3-137" fmla="*/ 2815889 w 6267761"/>
              <a:gd name="connsiteY3-138" fmla="*/ 9271094 h 9271094"/>
              <a:gd name="connsiteX0-139" fmla="*/ 2683151 w 6412950"/>
              <a:gd name="connsiteY0-140" fmla="*/ 9838332 h 9838332"/>
              <a:gd name="connsiteX1-141" fmla="*/ 2301144 w 6412950"/>
              <a:gd name="connsiteY1-142" fmla="*/ 0 h 9838332"/>
              <a:gd name="connsiteX2-143" fmla="*/ 6412950 w 6412950"/>
              <a:gd name="connsiteY2-144" fmla="*/ 1941133 h 9838332"/>
              <a:gd name="connsiteX3-145" fmla="*/ 2683151 w 6412950"/>
              <a:gd name="connsiteY3-146" fmla="*/ 9838332 h 9838332"/>
              <a:gd name="connsiteX0-147" fmla="*/ 2888273 w 6618072"/>
              <a:gd name="connsiteY0-148" fmla="*/ 9838332 h 9838332"/>
              <a:gd name="connsiteX1-149" fmla="*/ 2506266 w 6618072"/>
              <a:gd name="connsiteY1-150" fmla="*/ 0 h 9838332"/>
              <a:gd name="connsiteX2-151" fmla="*/ 6618072 w 6618072"/>
              <a:gd name="connsiteY2-152" fmla="*/ 1941133 h 9838332"/>
              <a:gd name="connsiteX3-153" fmla="*/ 2888273 w 6618072"/>
              <a:gd name="connsiteY3-154" fmla="*/ 9838332 h 9838332"/>
              <a:gd name="connsiteX0-155" fmla="*/ 2900469 w 6630268"/>
              <a:gd name="connsiteY0-156" fmla="*/ 9838332 h 9838332"/>
              <a:gd name="connsiteX1-157" fmla="*/ 2518462 w 6630268"/>
              <a:gd name="connsiteY1-158" fmla="*/ 0 h 9838332"/>
              <a:gd name="connsiteX2-159" fmla="*/ 6630268 w 6630268"/>
              <a:gd name="connsiteY2-160" fmla="*/ 1941133 h 9838332"/>
              <a:gd name="connsiteX3-161" fmla="*/ 2900469 w 6630268"/>
              <a:gd name="connsiteY3-162" fmla="*/ 9838332 h 9838332"/>
              <a:gd name="connsiteX0-163" fmla="*/ 2955158 w 6684957"/>
              <a:gd name="connsiteY0-164" fmla="*/ 9838332 h 9838332"/>
              <a:gd name="connsiteX1-165" fmla="*/ 2573151 w 6684957"/>
              <a:gd name="connsiteY1-166" fmla="*/ 0 h 9838332"/>
              <a:gd name="connsiteX2-167" fmla="*/ 6684957 w 6684957"/>
              <a:gd name="connsiteY2-168" fmla="*/ 1941133 h 9838332"/>
              <a:gd name="connsiteX3-169" fmla="*/ 2955158 w 6684957"/>
              <a:gd name="connsiteY3-170" fmla="*/ 9838332 h 9838332"/>
              <a:gd name="connsiteX0-171" fmla="*/ 2929913 w 6717995"/>
              <a:gd name="connsiteY0-172" fmla="*/ 10021467 h 10021467"/>
              <a:gd name="connsiteX1-173" fmla="*/ 2606189 w 6717995"/>
              <a:gd name="connsiteY1-174" fmla="*/ 0 h 10021467"/>
              <a:gd name="connsiteX2-175" fmla="*/ 6717995 w 6717995"/>
              <a:gd name="connsiteY2-176" fmla="*/ 1941133 h 10021467"/>
              <a:gd name="connsiteX3-177" fmla="*/ 2929913 w 6717995"/>
              <a:gd name="connsiteY3-178" fmla="*/ 10021467 h 10021467"/>
              <a:gd name="connsiteX0-179" fmla="*/ 3062568 w 6850650"/>
              <a:gd name="connsiteY0-180" fmla="*/ 10021467 h 10021467"/>
              <a:gd name="connsiteX1-181" fmla="*/ 2738844 w 6850650"/>
              <a:gd name="connsiteY1-182" fmla="*/ 0 h 10021467"/>
              <a:gd name="connsiteX2-183" fmla="*/ 6850650 w 6850650"/>
              <a:gd name="connsiteY2-184" fmla="*/ 1941133 h 10021467"/>
              <a:gd name="connsiteX3-185" fmla="*/ 3062568 w 6850650"/>
              <a:gd name="connsiteY3-186" fmla="*/ 10021467 h 10021467"/>
              <a:gd name="connsiteX0-187" fmla="*/ 3136523 w 6751260"/>
              <a:gd name="connsiteY0-188" fmla="*/ 9653891 h 9653891"/>
              <a:gd name="connsiteX1-189" fmla="*/ 2639454 w 6751260"/>
              <a:gd name="connsiteY1-190" fmla="*/ 0 h 9653891"/>
              <a:gd name="connsiteX2-191" fmla="*/ 6751260 w 6751260"/>
              <a:gd name="connsiteY2-192" fmla="*/ 1941133 h 9653891"/>
              <a:gd name="connsiteX3-193" fmla="*/ 3136523 w 6751260"/>
              <a:gd name="connsiteY3-194" fmla="*/ 9653891 h 9653891"/>
              <a:gd name="connsiteX0-195" fmla="*/ 3003367 w 6618104"/>
              <a:gd name="connsiteY0-196" fmla="*/ 9653891 h 9653891"/>
              <a:gd name="connsiteX1-197" fmla="*/ 2506298 w 6618104"/>
              <a:gd name="connsiteY1-198" fmla="*/ 0 h 9653891"/>
              <a:gd name="connsiteX2-199" fmla="*/ 6618104 w 6618104"/>
              <a:gd name="connsiteY2-200" fmla="*/ 1941133 h 9653891"/>
              <a:gd name="connsiteX3-201" fmla="*/ 3003367 w 6618104"/>
              <a:gd name="connsiteY3-202" fmla="*/ 9653891 h 965389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6618104" h="9653891">
                <a:moveTo>
                  <a:pt x="3003367" y="9653891"/>
                </a:moveTo>
                <a:cubicBezTo>
                  <a:pt x="-1676241" y="7049478"/>
                  <a:pt x="-122763" y="2972093"/>
                  <a:pt x="2506298" y="0"/>
                </a:cubicBezTo>
                <a:cubicBezTo>
                  <a:pt x="3306648" y="333325"/>
                  <a:pt x="5892883" y="1608608"/>
                  <a:pt x="6618104" y="1941133"/>
                </a:cubicBezTo>
                <a:cubicBezTo>
                  <a:pt x="6303123" y="2744278"/>
                  <a:pt x="3600779" y="8296056"/>
                  <a:pt x="3003367" y="965389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622300" y="106363"/>
            <a:ext cx="1004888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言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组合 11"/>
          <p:cNvGrpSpPr/>
          <p:nvPr/>
        </p:nvGrpSpPr>
        <p:grpSpPr bwMode="auto">
          <a:xfrm>
            <a:off x="1211263" y="1589088"/>
            <a:ext cx="1619250" cy="1617662"/>
            <a:chOff x="1211580" y="1588772"/>
            <a:chExt cx="1618488" cy="1618488"/>
          </a:xfrm>
        </p:grpSpPr>
        <p:sp>
          <p:nvSpPr>
            <p:cNvPr id="13" name="椭圆 12"/>
            <p:cNvSpPr/>
            <p:nvPr/>
          </p:nvSpPr>
          <p:spPr>
            <a:xfrm>
              <a:off x="1211580" y="1588772"/>
              <a:ext cx="1618488" cy="1618488"/>
            </a:xfrm>
            <a:prstGeom prst="ellipse">
              <a:avLst/>
            </a:prstGeom>
            <a:gradFill>
              <a:gsLst>
                <a:gs pos="0">
                  <a:srgbClr val="F49100"/>
                </a:gs>
                <a:gs pos="100000">
                  <a:srgbClr val="F7AD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  <p:sp>
          <p:nvSpPr>
            <p:cNvPr id="17450" name="TextBox 15"/>
            <p:cNvSpPr txBox="1">
              <a:spLocks noChangeArrowheads="1"/>
            </p:cNvSpPr>
            <p:nvPr/>
          </p:nvSpPr>
          <p:spPr bwMode="auto">
            <a:xfrm>
              <a:off x="1518123" y="1613186"/>
              <a:ext cx="1005403" cy="1569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9600"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  <a:endParaRPr lang="zh-CN" altLang="en-US" sz="9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组合 14"/>
          <p:cNvGrpSpPr/>
          <p:nvPr/>
        </p:nvGrpSpPr>
        <p:grpSpPr bwMode="auto">
          <a:xfrm>
            <a:off x="2913063" y="1589088"/>
            <a:ext cx="1617662" cy="1617662"/>
            <a:chOff x="2912364" y="1588772"/>
            <a:chExt cx="1618488" cy="1618488"/>
          </a:xfrm>
        </p:grpSpPr>
        <p:sp>
          <p:nvSpPr>
            <p:cNvPr id="16" name="椭圆 15"/>
            <p:cNvSpPr/>
            <p:nvPr/>
          </p:nvSpPr>
          <p:spPr>
            <a:xfrm>
              <a:off x="2912364" y="1588772"/>
              <a:ext cx="1618488" cy="1618488"/>
            </a:xfrm>
            <a:prstGeom prst="ellipse">
              <a:avLst/>
            </a:prstGeom>
            <a:gradFill>
              <a:gsLst>
                <a:gs pos="0">
                  <a:srgbClr val="F49100"/>
                </a:gs>
                <a:gs pos="100000">
                  <a:srgbClr val="F7AD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7448" name="TextBox 18"/>
            <p:cNvSpPr txBox="1">
              <a:spLocks noChangeArrowheads="1"/>
            </p:cNvSpPr>
            <p:nvPr/>
          </p:nvSpPr>
          <p:spPr bwMode="auto">
            <a:xfrm>
              <a:off x="3184442" y="1613186"/>
              <a:ext cx="1074333" cy="1569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9600">
                  <a:latin typeface="Arial" panose="020B0604020202020204" pitchFamily="34" charset="0"/>
                  <a:cs typeface="Arial" panose="020B0604020202020204" pitchFamily="34" charset="0"/>
                </a:rPr>
                <a:t>U</a:t>
              </a:r>
              <a:endParaRPr lang="zh-CN" altLang="en-US" sz="9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组合 17"/>
          <p:cNvGrpSpPr/>
          <p:nvPr/>
        </p:nvGrpSpPr>
        <p:grpSpPr bwMode="auto">
          <a:xfrm>
            <a:off x="4613275" y="1589088"/>
            <a:ext cx="1617663" cy="1617662"/>
            <a:chOff x="4613148" y="1588772"/>
            <a:chExt cx="1618488" cy="1618488"/>
          </a:xfrm>
        </p:grpSpPr>
        <p:sp>
          <p:nvSpPr>
            <p:cNvPr id="19" name="椭圆 18"/>
            <p:cNvSpPr/>
            <p:nvPr/>
          </p:nvSpPr>
          <p:spPr>
            <a:xfrm>
              <a:off x="4613148" y="1588772"/>
              <a:ext cx="1618488" cy="1618488"/>
            </a:xfrm>
            <a:prstGeom prst="ellipse">
              <a:avLst/>
            </a:prstGeom>
            <a:gradFill>
              <a:gsLst>
                <a:gs pos="0">
                  <a:srgbClr val="F49100"/>
                </a:gs>
                <a:gs pos="100000">
                  <a:srgbClr val="F7AD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7446" name="TextBox 21"/>
            <p:cNvSpPr txBox="1">
              <a:spLocks noChangeArrowheads="1"/>
            </p:cNvSpPr>
            <p:nvPr/>
          </p:nvSpPr>
          <p:spPr bwMode="auto">
            <a:xfrm>
              <a:off x="4885226" y="1613186"/>
              <a:ext cx="1005403" cy="1569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9600"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endParaRPr lang="zh-CN" altLang="en-US" sz="9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组合 20"/>
          <p:cNvGrpSpPr/>
          <p:nvPr/>
        </p:nvGrpSpPr>
        <p:grpSpPr bwMode="auto">
          <a:xfrm>
            <a:off x="6313488" y="1589088"/>
            <a:ext cx="1619250" cy="1617662"/>
            <a:chOff x="6313932" y="1588772"/>
            <a:chExt cx="1618488" cy="1618488"/>
          </a:xfrm>
        </p:grpSpPr>
        <p:sp>
          <p:nvSpPr>
            <p:cNvPr id="22" name="椭圆 21"/>
            <p:cNvSpPr/>
            <p:nvPr/>
          </p:nvSpPr>
          <p:spPr>
            <a:xfrm>
              <a:off x="6313932" y="1588772"/>
              <a:ext cx="1618488" cy="1618488"/>
            </a:xfrm>
            <a:prstGeom prst="ellipse">
              <a:avLst/>
            </a:prstGeom>
            <a:gradFill>
              <a:gsLst>
                <a:gs pos="0">
                  <a:srgbClr val="F49100"/>
                </a:gs>
                <a:gs pos="100000">
                  <a:srgbClr val="F7AD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7444" name="TextBox 24"/>
            <p:cNvSpPr txBox="1">
              <a:spLocks noChangeArrowheads="1"/>
            </p:cNvSpPr>
            <p:nvPr/>
          </p:nvSpPr>
          <p:spPr bwMode="auto">
            <a:xfrm>
              <a:off x="6860123" y="1613186"/>
              <a:ext cx="526106" cy="1569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9600"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  <a:endParaRPr lang="zh-CN" altLang="en-US" sz="9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 bwMode="auto">
          <a:xfrm>
            <a:off x="1211263" y="3308350"/>
            <a:ext cx="1619250" cy="1617663"/>
            <a:chOff x="1211580" y="3307844"/>
            <a:chExt cx="1618488" cy="1618488"/>
          </a:xfrm>
        </p:grpSpPr>
        <p:sp>
          <p:nvSpPr>
            <p:cNvPr id="25" name="椭圆 24"/>
            <p:cNvSpPr/>
            <p:nvPr/>
          </p:nvSpPr>
          <p:spPr>
            <a:xfrm>
              <a:off x="1211580" y="3307844"/>
              <a:ext cx="1618488" cy="1618488"/>
            </a:xfrm>
            <a:prstGeom prst="ellipse">
              <a:avLst/>
            </a:prstGeom>
            <a:gradFill>
              <a:gsLst>
                <a:gs pos="0">
                  <a:srgbClr val="F49100"/>
                </a:gs>
                <a:gs pos="100000">
                  <a:srgbClr val="F7AD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7442" name="TextBox 27"/>
            <p:cNvSpPr txBox="1">
              <a:spLocks noChangeArrowheads="1"/>
            </p:cNvSpPr>
            <p:nvPr/>
          </p:nvSpPr>
          <p:spPr bwMode="auto">
            <a:xfrm>
              <a:off x="1483658" y="3332258"/>
              <a:ext cx="1074333" cy="1569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9600"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endParaRPr lang="zh-CN" altLang="en-US" sz="9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" name="组合 26"/>
          <p:cNvGrpSpPr/>
          <p:nvPr/>
        </p:nvGrpSpPr>
        <p:grpSpPr bwMode="auto">
          <a:xfrm>
            <a:off x="2913063" y="3308350"/>
            <a:ext cx="1617662" cy="1617663"/>
            <a:chOff x="2912364" y="3307844"/>
            <a:chExt cx="1618488" cy="1618488"/>
          </a:xfrm>
        </p:grpSpPr>
        <p:sp>
          <p:nvSpPr>
            <p:cNvPr id="28" name="椭圆 27"/>
            <p:cNvSpPr/>
            <p:nvPr/>
          </p:nvSpPr>
          <p:spPr>
            <a:xfrm>
              <a:off x="2912364" y="3307844"/>
              <a:ext cx="1618488" cy="1618488"/>
            </a:xfrm>
            <a:prstGeom prst="ellipse">
              <a:avLst/>
            </a:prstGeom>
            <a:gradFill>
              <a:gsLst>
                <a:gs pos="0">
                  <a:srgbClr val="F49100"/>
                </a:gs>
                <a:gs pos="100000">
                  <a:srgbClr val="F7AD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7440" name="TextBox 30"/>
            <p:cNvSpPr txBox="1">
              <a:spLocks noChangeArrowheads="1"/>
            </p:cNvSpPr>
            <p:nvPr/>
          </p:nvSpPr>
          <p:spPr bwMode="auto">
            <a:xfrm>
              <a:off x="3218907" y="3332258"/>
              <a:ext cx="1005403" cy="1569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9600"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  <a:endParaRPr lang="zh-CN" altLang="en-US" sz="9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" name="组合 29"/>
          <p:cNvGrpSpPr/>
          <p:nvPr/>
        </p:nvGrpSpPr>
        <p:grpSpPr bwMode="auto">
          <a:xfrm>
            <a:off x="4613275" y="3308350"/>
            <a:ext cx="1617663" cy="1617663"/>
            <a:chOff x="4613148" y="3307844"/>
            <a:chExt cx="1618488" cy="1618488"/>
          </a:xfrm>
        </p:grpSpPr>
        <p:sp>
          <p:nvSpPr>
            <p:cNvPr id="31" name="椭圆 30"/>
            <p:cNvSpPr/>
            <p:nvPr/>
          </p:nvSpPr>
          <p:spPr>
            <a:xfrm>
              <a:off x="4613148" y="3307844"/>
              <a:ext cx="1618488" cy="1618488"/>
            </a:xfrm>
            <a:prstGeom prst="ellipse">
              <a:avLst/>
            </a:prstGeom>
            <a:solidFill>
              <a:schemeClr val="bg1"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919691" y="3332258"/>
              <a:ext cx="1005403" cy="156966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600" dirty="0">
                  <a:solidFill>
                    <a:schemeClr val="bg1">
                      <a:alpha val="33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</a:t>
              </a:r>
              <a:endParaRPr lang="zh-CN" altLang="en-US" sz="9600" dirty="0">
                <a:solidFill>
                  <a:schemeClr val="bg1">
                    <a:alpha val="33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3" name="组合 32"/>
          <p:cNvGrpSpPr/>
          <p:nvPr/>
        </p:nvGrpSpPr>
        <p:grpSpPr bwMode="auto">
          <a:xfrm>
            <a:off x="6313488" y="3308350"/>
            <a:ext cx="1619250" cy="1617663"/>
            <a:chOff x="6313932" y="3307844"/>
            <a:chExt cx="1618488" cy="1618488"/>
          </a:xfrm>
        </p:grpSpPr>
        <p:sp>
          <p:nvSpPr>
            <p:cNvPr id="34" name="椭圆 33"/>
            <p:cNvSpPr/>
            <p:nvPr/>
          </p:nvSpPr>
          <p:spPr>
            <a:xfrm>
              <a:off x="6313932" y="3307844"/>
              <a:ext cx="1618488" cy="1618488"/>
            </a:xfrm>
            <a:prstGeom prst="ellipse">
              <a:avLst/>
            </a:prstGeom>
            <a:solidFill>
              <a:schemeClr val="bg1"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620475" y="3332258"/>
              <a:ext cx="1005403" cy="156966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600" dirty="0">
                  <a:solidFill>
                    <a:schemeClr val="bg1">
                      <a:alpha val="33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</a:t>
              </a:r>
              <a:endParaRPr lang="zh-CN" altLang="en-US" sz="9600" dirty="0">
                <a:solidFill>
                  <a:schemeClr val="bg1">
                    <a:alpha val="33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" name="组合 35"/>
          <p:cNvGrpSpPr/>
          <p:nvPr/>
        </p:nvGrpSpPr>
        <p:grpSpPr bwMode="auto">
          <a:xfrm>
            <a:off x="1201738" y="417513"/>
            <a:ext cx="5521325" cy="892175"/>
            <a:chOff x="1201884" y="416786"/>
            <a:chExt cx="5521481" cy="892733"/>
          </a:xfrm>
        </p:grpSpPr>
        <p:grpSp>
          <p:nvGrpSpPr>
            <p:cNvPr id="17428" name="组合 38"/>
            <p:cNvGrpSpPr/>
            <p:nvPr/>
          </p:nvGrpSpPr>
          <p:grpSpPr bwMode="auto">
            <a:xfrm>
              <a:off x="1946459" y="416786"/>
              <a:ext cx="4776906" cy="892733"/>
              <a:chOff x="3791885" y="638928"/>
              <a:chExt cx="4776906" cy="892733"/>
            </a:xfrm>
          </p:grpSpPr>
          <p:sp>
            <p:nvSpPr>
              <p:cNvPr id="17432" name="TextBox 42"/>
              <p:cNvSpPr txBox="1">
                <a:spLocks noChangeArrowheads="1"/>
              </p:cNvSpPr>
              <p:nvPr/>
            </p:nvSpPr>
            <p:spPr bwMode="auto">
              <a:xfrm>
                <a:off x="3791885" y="638928"/>
                <a:ext cx="3339470" cy="6467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en-US" altLang="zh-CN" sz="3600" b="1">
                    <a:solidFill>
                      <a:srgbClr val="F491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POWER</a:t>
                </a:r>
                <a:r>
                  <a:rPr lang="en-US" altLang="zh-CN" sz="3600" b="1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POINT</a:t>
                </a:r>
                <a:endParaRPr lang="en-US" altLang="zh-CN" sz="3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矩形 41"/>
              <p:cNvSpPr>
                <a:spLocks noChangeArrowheads="1"/>
              </p:cNvSpPr>
              <p:nvPr/>
            </p:nvSpPr>
            <p:spPr bwMode="auto">
              <a:xfrm>
                <a:off x="5306359" y="1069996"/>
                <a:ext cx="3262432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2400" dirty="0">
                    <a:solidFill>
                      <a:schemeClr val="bg1">
                        <a:alpha val="63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</a:t>
                </a:r>
                <a:endParaRPr lang="zh-CN" altLang="en-US" sz="2400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TextBox 83"/>
              <p:cNvSpPr txBox="1">
                <a:spLocks noChangeArrowheads="1"/>
              </p:cNvSpPr>
              <p:nvPr/>
            </p:nvSpPr>
            <p:spPr bwMode="auto">
              <a:xfrm>
                <a:off x="3806617" y="1131703"/>
                <a:ext cx="1723549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000" b="1" dirty="0" smtClean="0">
                    <a:solidFill>
                      <a:schemeClr val="bg1">
                        <a:alpha val="63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适用于</a:t>
                </a:r>
                <a:r>
                  <a:rPr lang="zh-CN" altLang="en-US" sz="1000" b="1" dirty="0">
                    <a:solidFill>
                      <a:schemeClr val="bg1">
                        <a:alpha val="63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商务</a:t>
                </a:r>
                <a:r>
                  <a:rPr lang="zh-CN" altLang="en-US" sz="1000" b="1" dirty="0" smtClean="0">
                    <a:solidFill>
                      <a:schemeClr val="bg1">
                        <a:alpha val="63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及</a:t>
                </a:r>
                <a:r>
                  <a:rPr lang="zh-CN" altLang="en-US" sz="1000" b="1" dirty="0">
                    <a:solidFill>
                      <a:schemeClr val="bg1">
                        <a:alpha val="63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相关类别演示</a:t>
                </a:r>
                <a:endParaRPr lang="zh-CN" altLang="en-US" sz="1000" b="1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7429" name="组合 39"/>
            <p:cNvGrpSpPr/>
            <p:nvPr/>
          </p:nvGrpSpPr>
          <p:grpSpPr bwMode="auto">
            <a:xfrm>
              <a:off x="1201884" y="431800"/>
              <a:ext cx="718355" cy="831578"/>
              <a:chOff x="163748" y="256884"/>
              <a:chExt cx="1099973" cy="1273345"/>
            </a:xfrm>
          </p:grpSpPr>
          <p:sp>
            <p:nvSpPr>
              <p:cNvPr id="39" name="圆角矩形 38"/>
              <p:cNvSpPr/>
              <p:nvPr/>
            </p:nvSpPr>
            <p:spPr>
              <a:xfrm>
                <a:off x="163748" y="292270"/>
                <a:ext cx="1098771" cy="1201588"/>
              </a:xfrm>
              <a:prstGeom prst="roundRect">
                <a:avLst/>
              </a:prstGeom>
              <a:noFill/>
              <a:ln w="12700">
                <a:solidFill>
                  <a:srgbClr val="F7AD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pic>
            <p:nvPicPr>
              <p:cNvPr id="17431" name="图片 41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4021" y="256884"/>
                <a:ext cx="1079426" cy="1273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4" name="TextBox 2"/>
          <p:cNvSpPr txBox="1">
            <a:spLocks noChangeArrowheads="1"/>
          </p:cNvSpPr>
          <p:nvPr/>
        </p:nvSpPr>
        <p:spPr bwMode="auto">
          <a:xfrm>
            <a:off x="2327275" y="1462088"/>
            <a:ext cx="6400800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ct val="150000"/>
              </a:lnSpc>
            </a:pP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hangingPunct="1">
              <a:lnSpc>
                <a:spcPct val="150000"/>
              </a:lnSpc>
            </a:pP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锐普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的设计理念：杜绝平庸、专做精品 ！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专业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尽心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创意。</a:t>
            </a:r>
            <a:endParaRPr lang="zh-CN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hangingPunct="1">
              <a:lnSpc>
                <a:spcPct val="150000"/>
              </a:lnSpc>
            </a:pP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锐普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服务领域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公共模板设计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个性模板设计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稿件制作。</a:t>
            </a:r>
            <a:endParaRPr lang="zh-CN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 3"/>
          <p:cNvSpPr>
            <a:spLocks noChangeArrowheads="1"/>
          </p:cNvSpPr>
          <p:nvPr/>
        </p:nvSpPr>
        <p:spPr bwMode="auto">
          <a:xfrm>
            <a:off x="2327275" y="2927350"/>
            <a:ext cx="65659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RAPIDPPT, the leader of professional PPT designer in China. </a:t>
            </a:r>
            <a:endParaRPr lang="en-US" altLang="zh-CN" sz="12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5years of making professional PPT, 500 case studies for the classical PPT, make sure you will be satisfied. ……RAPIDPPT differs from the traditional production model, and create a new PPT experience.</a:t>
            </a:r>
            <a:endParaRPr lang="en-US" altLang="zh-CN" sz="12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Here we got China’s largest original PPT material, and the strongest PPT producing team. We got the training for everyone who wants to rapidly improve their PPT skills. </a:t>
            </a:r>
            <a:endParaRPr lang="en-US" altLang="zh-CN" sz="12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Our PPT is clear, beautiful, creative, valuable which have brought unexpected value to our hundreds of clients</a:t>
            </a:r>
            <a:endParaRPr lang="en-US" altLang="zh-CN" sz="1200">
              <a:latin typeface="Arial" panose="020B0604020202020204" pitchFamily="34" charset="0"/>
            </a:endParaRPr>
          </a:p>
        </p:txBody>
      </p:sp>
      <p:grpSp>
        <p:nvGrpSpPr>
          <p:cNvPr id="49" name="组合 48"/>
          <p:cNvGrpSpPr/>
          <p:nvPr/>
        </p:nvGrpSpPr>
        <p:grpSpPr bwMode="auto">
          <a:xfrm>
            <a:off x="533400" y="923925"/>
            <a:ext cx="1617663" cy="1617663"/>
            <a:chOff x="533401" y="923925"/>
            <a:chExt cx="1617660" cy="1617663"/>
          </a:xfrm>
        </p:grpSpPr>
        <p:sp>
          <p:nvSpPr>
            <p:cNvPr id="47" name="椭圆 46"/>
            <p:cNvSpPr/>
            <p:nvPr/>
          </p:nvSpPr>
          <p:spPr bwMode="auto">
            <a:xfrm>
              <a:off x="533401" y="923925"/>
              <a:ext cx="1617660" cy="1617663"/>
            </a:xfrm>
            <a:prstGeom prst="ellipse">
              <a:avLst/>
            </a:prstGeom>
            <a:gradFill>
              <a:gsLst>
                <a:gs pos="0">
                  <a:srgbClr val="F49100"/>
                </a:gs>
                <a:gs pos="100000">
                  <a:srgbClr val="F7AD00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  <p:sp>
          <p:nvSpPr>
            <p:cNvPr id="17427" name="TextBox 53"/>
            <p:cNvSpPr txBox="1">
              <a:spLocks noChangeArrowheads="1"/>
            </p:cNvSpPr>
            <p:nvPr/>
          </p:nvSpPr>
          <p:spPr bwMode="auto">
            <a:xfrm>
              <a:off x="544577" y="1365989"/>
              <a:ext cx="1595309" cy="711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ts val="2500"/>
                </a:lnSpc>
              </a:pPr>
              <a:r>
                <a:rPr lang="en-US" altLang="zh-CN" sz="2000" b="1">
                  <a:latin typeface="Arial" panose="020B0604020202020204" pitchFamily="34" charset="0"/>
                  <a:ea typeface="方正粗圆简体" panose="02010601030101010101" pitchFamily="65" charset="-122"/>
                </a:rPr>
                <a:t>Business</a:t>
              </a:r>
              <a:endParaRPr lang="en-US" altLang="zh-CN" sz="2000" b="1">
                <a:latin typeface="Arial" panose="020B0604020202020204" pitchFamily="34" charset="0"/>
                <a:ea typeface="方正粗圆简体" panose="02010601030101010101" pitchFamily="65" charset="-122"/>
              </a:endParaRPr>
            </a:p>
            <a:p>
              <a:pPr algn="ctr" eaLnBrk="1" hangingPunct="1">
                <a:lnSpc>
                  <a:spcPts val="2500"/>
                </a:lnSpc>
              </a:pPr>
              <a:r>
                <a:rPr lang="en-US" altLang="zh-CN" sz="2000" b="1">
                  <a:latin typeface="Arial" panose="020B0604020202020204" pitchFamily="34" charset="0"/>
                  <a:ea typeface="方正粗圆简体" panose="02010601030101010101" pitchFamily="65" charset="-122"/>
                </a:rPr>
                <a:t>PowerPoint</a:t>
              </a:r>
              <a:endParaRPr lang="zh-CN" altLang="en-US" sz="2000" b="1">
                <a:latin typeface="Arial" panose="020B0604020202020204" pitchFamily="34" charset="0"/>
                <a:ea typeface="方正粗圆简体" panose="02010601030101010101" pitchFamily="65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" presetClass="exit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" dur="3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3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2" presetClass="exit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" dur="3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3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" presetClass="exit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" presetClass="exit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3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3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" presetClass="exit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5" dur="3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3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" presetClass="exit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9" dur="3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3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" presetClass="exit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3" dur="3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3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" presetClass="exit" presetSubtype="2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7" dur="3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3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1" presetClass="entr" presetSubtype="1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" presetClass="entr" presetSubtype="8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6" presetClass="emph" presetSubtype="0" repeatCount="2000" fill="hold" nodeType="withEffect">
                                  <p:stCondLst>
                                    <p:cond delay="2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15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" dur="75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12" presetClass="entr" presetSubtype="8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44" grpId="0"/>
      <p:bldP spid="4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004888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言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" name="组合 17"/>
          <p:cNvGrpSpPr/>
          <p:nvPr/>
        </p:nvGrpSpPr>
        <p:grpSpPr bwMode="auto">
          <a:xfrm>
            <a:off x="2495550" y="1662113"/>
            <a:ext cx="6191250" cy="473075"/>
            <a:chOff x="2495942" y="1662237"/>
            <a:chExt cx="6191250" cy="473075"/>
          </a:xfrm>
        </p:grpSpPr>
        <p:sp>
          <p:nvSpPr>
            <p:cNvPr id="19" name="AutoShape 4548"/>
            <p:cNvSpPr>
              <a:spLocks noChangeArrowheads="1"/>
            </p:cNvSpPr>
            <p:nvPr/>
          </p:nvSpPr>
          <p:spPr bwMode="auto">
            <a:xfrm>
              <a:off x="2495942" y="16622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20" name="矩形​​ 38"/>
            <p:cNvSpPr>
              <a:spLocks noChangeArrowheads="1"/>
            </p:cNvSpPr>
            <p:nvPr/>
          </p:nvSpPr>
          <p:spPr bwMode="auto">
            <a:xfrm>
              <a:off x="3720743" y="16802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1" name="组合 20"/>
          <p:cNvGrpSpPr/>
          <p:nvPr/>
        </p:nvGrpSpPr>
        <p:grpSpPr bwMode="auto">
          <a:xfrm>
            <a:off x="2495550" y="2378075"/>
            <a:ext cx="6191250" cy="473075"/>
            <a:chOff x="2495942" y="2398837"/>
            <a:chExt cx="6191250" cy="473075"/>
          </a:xfrm>
        </p:grpSpPr>
        <p:sp>
          <p:nvSpPr>
            <p:cNvPr id="22" name="AutoShape 4548"/>
            <p:cNvSpPr>
              <a:spLocks noChangeArrowheads="1"/>
            </p:cNvSpPr>
            <p:nvPr/>
          </p:nvSpPr>
          <p:spPr bwMode="auto">
            <a:xfrm>
              <a:off x="2495942" y="23988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23" name="矩形​​ 38"/>
            <p:cNvSpPr>
              <a:spLocks noChangeArrowheads="1"/>
            </p:cNvSpPr>
            <p:nvPr/>
          </p:nvSpPr>
          <p:spPr bwMode="auto">
            <a:xfrm>
              <a:off x="3720743" y="24168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4" name="组合 23"/>
          <p:cNvGrpSpPr/>
          <p:nvPr/>
        </p:nvGrpSpPr>
        <p:grpSpPr bwMode="auto">
          <a:xfrm>
            <a:off x="2495550" y="3092450"/>
            <a:ext cx="6191250" cy="473075"/>
            <a:chOff x="2495942" y="3084637"/>
            <a:chExt cx="6191250" cy="473075"/>
          </a:xfrm>
        </p:grpSpPr>
        <p:sp>
          <p:nvSpPr>
            <p:cNvPr id="25" name="AutoShape 4548"/>
            <p:cNvSpPr>
              <a:spLocks noChangeArrowheads="1"/>
            </p:cNvSpPr>
            <p:nvPr/>
          </p:nvSpPr>
          <p:spPr bwMode="auto">
            <a:xfrm>
              <a:off x="2495942" y="30846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26" name="矩形​​ 38"/>
            <p:cNvSpPr>
              <a:spLocks noChangeArrowheads="1"/>
            </p:cNvSpPr>
            <p:nvPr/>
          </p:nvSpPr>
          <p:spPr bwMode="auto">
            <a:xfrm>
              <a:off x="3720743" y="31026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 bwMode="auto">
          <a:xfrm>
            <a:off x="2495550" y="3808413"/>
            <a:ext cx="6191250" cy="473075"/>
            <a:chOff x="2495942" y="3808537"/>
            <a:chExt cx="6191250" cy="473075"/>
          </a:xfrm>
        </p:grpSpPr>
        <p:sp>
          <p:nvSpPr>
            <p:cNvPr id="28" name="AutoShape 4548"/>
            <p:cNvSpPr>
              <a:spLocks noChangeArrowheads="1"/>
            </p:cNvSpPr>
            <p:nvPr/>
          </p:nvSpPr>
          <p:spPr bwMode="auto">
            <a:xfrm>
              <a:off x="2495942" y="38085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29" name="矩形​​ 38"/>
            <p:cNvSpPr>
              <a:spLocks noChangeArrowheads="1"/>
            </p:cNvSpPr>
            <p:nvPr/>
          </p:nvSpPr>
          <p:spPr bwMode="auto">
            <a:xfrm>
              <a:off x="3720743" y="38265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30" name="图片 29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5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75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41605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过渡页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 bwMode="auto">
          <a:xfrm>
            <a:off x="2495550" y="1662113"/>
            <a:ext cx="6191250" cy="473075"/>
            <a:chOff x="2495942" y="1662237"/>
            <a:chExt cx="6191250" cy="473075"/>
          </a:xfrm>
        </p:grpSpPr>
        <p:sp>
          <p:nvSpPr>
            <p:cNvPr id="4" name="AutoShape 4548"/>
            <p:cNvSpPr>
              <a:spLocks noChangeArrowheads="1"/>
            </p:cNvSpPr>
            <p:nvPr/>
          </p:nvSpPr>
          <p:spPr bwMode="auto">
            <a:xfrm>
              <a:off x="2495942" y="16622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5" name="矩形​​ 38"/>
            <p:cNvSpPr>
              <a:spLocks noChangeArrowheads="1"/>
            </p:cNvSpPr>
            <p:nvPr/>
          </p:nvSpPr>
          <p:spPr bwMode="auto">
            <a:xfrm>
              <a:off x="3720743" y="16802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 bwMode="auto">
          <a:xfrm>
            <a:off x="2495550" y="2378075"/>
            <a:ext cx="6191250" cy="473075"/>
            <a:chOff x="2495942" y="2398837"/>
            <a:chExt cx="6191250" cy="473075"/>
          </a:xfrm>
        </p:grpSpPr>
        <p:sp>
          <p:nvSpPr>
            <p:cNvPr id="7" name="AutoShape 4548"/>
            <p:cNvSpPr>
              <a:spLocks noChangeArrowheads="1"/>
            </p:cNvSpPr>
            <p:nvPr/>
          </p:nvSpPr>
          <p:spPr bwMode="auto">
            <a:xfrm>
              <a:off x="2495942" y="23988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8" name="矩形​​ 38"/>
            <p:cNvSpPr>
              <a:spLocks noChangeArrowheads="1"/>
            </p:cNvSpPr>
            <p:nvPr/>
          </p:nvSpPr>
          <p:spPr bwMode="auto">
            <a:xfrm>
              <a:off x="3720743" y="24168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 bwMode="auto">
          <a:xfrm>
            <a:off x="2495550" y="3092450"/>
            <a:ext cx="6191250" cy="473075"/>
            <a:chOff x="2495942" y="3084637"/>
            <a:chExt cx="6191250" cy="473075"/>
          </a:xfrm>
        </p:grpSpPr>
        <p:sp>
          <p:nvSpPr>
            <p:cNvPr id="10" name="AutoShape 4548"/>
            <p:cNvSpPr>
              <a:spLocks noChangeArrowheads="1"/>
            </p:cNvSpPr>
            <p:nvPr/>
          </p:nvSpPr>
          <p:spPr bwMode="auto">
            <a:xfrm>
              <a:off x="2495942" y="30846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11" name="矩形​​ 38"/>
            <p:cNvSpPr>
              <a:spLocks noChangeArrowheads="1"/>
            </p:cNvSpPr>
            <p:nvPr/>
          </p:nvSpPr>
          <p:spPr bwMode="auto">
            <a:xfrm>
              <a:off x="3720743" y="31026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" name="组合 11"/>
          <p:cNvGrpSpPr/>
          <p:nvPr/>
        </p:nvGrpSpPr>
        <p:grpSpPr bwMode="auto">
          <a:xfrm>
            <a:off x="2495550" y="3808413"/>
            <a:ext cx="6191250" cy="473075"/>
            <a:chOff x="2495942" y="3808537"/>
            <a:chExt cx="6191250" cy="473075"/>
          </a:xfrm>
        </p:grpSpPr>
        <p:sp>
          <p:nvSpPr>
            <p:cNvPr id="13" name="AutoShape 4548"/>
            <p:cNvSpPr>
              <a:spLocks noChangeArrowheads="1"/>
            </p:cNvSpPr>
            <p:nvPr/>
          </p:nvSpPr>
          <p:spPr bwMode="auto">
            <a:xfrm>
              <a:off x="2495942" y="38085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14" name="矩形​​ 38"/>
            <p:cNvSpPr>
              <a:spLocks noChangeArrowheads="1"/>
            </p:cNvSpPr>
            <p:nvPr/>
          </p:nvSpPr>
          <p:spPr bwMode="auto">
            <a:xfrm>
              <a:off x="3720743" y="38265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5" name="图片 1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5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75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xit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2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2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" presetClass="exit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0" dur="25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25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2" presetClass="exit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4" dur="25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25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1.66667E-6 2.08835E-6 L 1.66667E-6 0.19555 " pathEditMode="relative" rAng="0" ptsTypes="AA">
                                      <p:cBhvr>
                                        <p:cTn id="28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7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82562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Freeform 8"/>
          <p:cNvSpPr>
            <a:spLocks noEditPoints="1"/>
          </p:cNvSpPr>
          <p:nvPr/>
        </p:nvSpPr>
        <p:spPr bwMode="auto">
          <a:xfrm>
            <a:off x="7799388" y="2516188"/>
            <a:ext cx="473075" cy="473075"/>
          </a:xfrm>
          <a:custGeom>
            <a:avLst/>
            <a:gdLst>
              <a:gd name="T0" fmla="*/ 0 w 368"/>
              <a:gd name="T1" fmla="*/ 2147483646 h 368"/>
              <a:gd name="T2" fmla="*/ 2147483646 w 368"/>
              <a:gd name="T3" fmla="*/ 2147483646 h 368"/>
              <a:gd name="T4" fmla="*/ 2147483646 w 368"/>
              <a:gd name="T5" fmla="*/ 2147483646 h 368"/>
              <a:gd name="T6" fmla="*/ 2147483646 w 368"/>
              <a:gd name="T7" fmla="*/ 2147483646 h 368"/>
              <a:gd name="T8" fmla="*/ 2147483646 w 368"/>
              <a:gd name="T9" fmla="*/ 2147483646 h 368"/>
              <a:gd name="T10" fmla="*/ 2147483646 w 368"/>
              <a:gd name="T11" fmla="*/ 2147483646 h 368"/>
              <a:gd name="T12" fmla="*/ 2147483646 w 368"/>
              <a:gd name="T13" fmla="*/ 2147483646 h 368"/>
              <a:gd name="T14" fmla="*/ 2147483646 w 368"/>
              <a:gd name="T15" fmla="*/ 2147483646 h 368"/>
              <a:gd name="T16" fmla="*/ 2147483646 w 368"/>
              <a:gd name="T17" fmla="*/ 2147483646 h 368"/>
              <a:gd name="T18" fmla="*/ 2147483646 w 368"/>
              <a:gd name="T19" fmla="*/ 2147483646 h 368"/>
              <a:gd name="T20" fmla="*/ 2147483646 w 368"/>
              <a:gd name="T21" fmla="*/ 2147483646 h 368"/>
              <a:gd name="T22" fmla="*/ 2147483646 w 368"/>
              <a:gd name="T23" fmla="*/ 2147483646 h 368"/>
              <a:gd name="T24" fmla="*/ 2147483646 w 368"/>
              <a:gd name="T25" fmla="*/ 2147483646 h 368"/>
              <a:gd name="T26" fmla="*/ 2147483646 w 368"/>
              <a:gd name="T27" fmla="*/ 2147483646 h 368"/>
              <a:gd name="T28" fmla="*/ 2147483646 w 368"/>
              <a:gd name="T29" fmla="*/ 2147483646 h 368"/>
              <a:gd name="T30" fmla="*/ 2147483646 w 368"/>
              <a:gd name="T31" fmla="*/ 2147483646 h 368"/>
              <a:gd name="T32" fmla="*/ 2147483646 w 368"/>
              <a:gd name="T33" fmla="*/ 2147483646 h 368"/>
              <a:gd name="T34" fmla="*/ 2147483646 w 368"/>
              <a:gd name="T35" fmla="*/ 2147483646 h 368"/>
              <a:gd name="T36" fmla="*/ 2147483646 w 368"/>
              <a:gd name="T37" fmla="*/ 2147483646 h 368"/>
              <a:gd name="T38" fmla="*/ 2147483646 w 368"/>
              <a:gd name="T39" fmla="*/ 2147483646 h 368"/>
              <a:gd name="T40" fmla="*/ 2147483646 w 368"/>
              <a:gd name="T41" fmla="*/ 2147483646 h 368"/>
              <a:gd name="T42" fmla="*/ 2147483646 w 368"/>
              <a:gd name="T43" fmla="*/ 2147483646 h 368"/>
              <a:gd name="T44" fmla="*/ 2147483646 w 368"/>
              <a:gd name="T45" fmla="*/ 2147483646 h 368"/>
              <a:gd name="T46" fmla="*/ 2147483646 w 368"/>
              <a:gd name="T47" fmla="*/ 2147483646 h 368"/>
              <a:gd name="T48" fmla="*/ 2147483646 w 368"/>
              <a:gd name="T49" fmla="*/ 2147483646 h 368"/>
              <a:gd name="T50" fmla="*/ 2147483646 w 368"/>
              <a:gd name="T51" fmla="*/ 0 h 368"/>
              <a:gd name="T52" fmla="*/ 2147483646 w 368"/>
              <a:gd name="T53" fmla="*/ 0 h 368"/>
              <a:gd name="T54" fmla="*/ 2147483646 w 368"/>
              <a:gd name="T55" fmla="*/ 2147483646 h 368"/>
              <a:gd name="T56" fmla="*/ 2147483646 w 368"/>
              <a:gd name="T57" fmla="*/ 2147483646 h 368"/>
              <a:gd name="T58" fmla="*/ 2147483646 w 368"/>
              <a:gd name="T59" fmla="*/ 2147483646 h 368"/>
              <a:gd name="T60" fmla="*/ 2147483646 w 368"/>
              <a:gd name="T61" fmla="*/ 2147483646 h 368"/>
              <a:gd name="T62" fmla="*/ 2147483646 w 368"/>
              <a:gd name="T63" fmla="*/ 2147483646 h 368"/>
              <a:gd name="T64" fmla="*/ 2147483646 w 368"/>
              <a:gd name="T65" fmla="*/ 2147483646 h 368"/>
              <a:gd name="T66" fmla="*/ 0 w 368"/>
              <a:gd name="T67" fmla="*/ 2147483646 h 368"/>
              <a:gd name="T68" fmla="*/ 0 w 368"/>
              <a:gd name="T69" fmla="*/ 2147483646 h 368"/>
              <a:gd name="T70" fmla="*/ 2147483646 w 368"/>
              <a:gd name="T71" fmla="*/ 2147483646 h 368"/>
              <a:gd name="T72" fmla="*/ 2147483646 w 368"/>
              <a:gd name="T73" fmla="*/ 2147483646 h 368"/>
              <a:gd name="T74" fmla="*/ 2147483646 w 368"/>
              <a:gd name="T75" fmla="*/ 2147483646 h 368"/>
              <a:gd name="T76" fmla="*/ 2147483646 w 368"/>
              <a:gd name="T77" fmla="*/ 2147483646 h 368"/>
              <a:gd name="T78" fmla="*/ 2147483646 w 368"/>
              <a:gd name="T79" fmla="*/ 2147483646 h 368"/>
              <a:gd name="T80" fmla="*/ 2147483646 w 368"/>
              <a:gd name="T81" fmla="*/ 2147483646 h 368"/>
              <a:gd name="T82" fmla="*/ 2147483646 w 368"/>
              <a:gd name="T83" fmla="*/ 2147483646 h 368"/>
              <a:gd name="T84" fmla="*/ 2147483646 w 368"/>
              <a:gd name="T85" fmla="*/ 2147483646 h 368"/>
              <a:gd name="T86" fmla="*/ 2147483646 w 368"/>
              <a:gd name="T87" fmla="*/ 2147483646 h 368"/>
              <a:gd name="T88" fmla="*/ 2147483646 w 368"/>
              <a:gd name="T89" fmla="*/ 2147483646 h 368"/>
              <a:gd name="T90" fmla="*/ 2147483646 w 368"/>
              <a:gd name="T91" fmla="*/ 2147483646 h 368"/>
              <a:gd name="T92" fmla="*/ 2147483646 w 368"/>
              <a:gd name="T93" fmla="*/ 2147483646 h 368"/>
              <a:gd name="T94" fmla="*/ 2147483646 w 368"/>
              <a:gd name="T95" fmla="*/ 2147483646 h 368"/>
              <a:gd name="T96" fmla="*/ 2147483646 w 368"/>
              <a:gd name="T97" fmla="*/ 2147483646 h 368"/>
              <a:gd name="T98" fmla="*/ 2147483646 w 368"/>
              <a:gd name="T99" fmla="*/ 2147483646 h 368"/>
              <a:gd name="T100" fmla="*/ 2147483646 w 368"/>
              <a:gd name="T101" fmla="*/ 2147483646 h 368"/>
              <a:gd name="T102" fmla="*/ 2147483646 w 368"/>
              <a:gd name="T103" fmla="*/ 2147483646 h 368"/>
              <a:gd name="T104" fmla="*/ 2147483646 w 368"/>
              <a:gd name="T105" fmla="*/ 2147483646 h 368"/>
              <a:gd name="T106" fmla="*/ 2147483646 w 368"/>
              <a:gd name="T107" fmla="*/ 2147483646 h 36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368" h="368">
                <a:moveTo>
                  <a:pt x="0" y="184"/>
                </a:moveTo>
                <a:lnTo>
                  <a:pt x="0" y="184"/>
                </a:lnTo>
                <a:lnTo>
                  <a:pt x="0" y="202"/>
                </a:lnTo>
                <a:lnTo>
                  <a:pt x="4" y="222"/>
                </a:lnTo>
                <a:lnTo>
                  <a:pt x="8" y="238"/>
                </a:lnTo>
                <a:lnTo>
                  <a:pt x="14" y="256"/>
                </a:lnTo>
                <a:lnTo>
                  <a:pt x="22" y="272"/>
                </a:lnTo>
                <a:lnTo>
                  <a:pt x="32" y="286"/>
                </a:lnTo>
                <a:lnTo>
                  <a:pt x="42" y="300"/>
                </a:lnTo>
                <a:lnTo>
                  <a:pt x="54" y="314"/>
                </a:lnTo>
                <a:lnTo>
                  <a:pt x="68" y="326"/>
                </a:lnTo>
                <a:lnTo>
                  <a:pt x="82" y="336"/>
                </a:lnTo>
                <a:lnTo>
                  <a:pt x="96" y="346"/>
                </a:lnTo>
                <a:lnTo>
                  <a:pt x="112" y="354"/>
                </a:lnTo>
                <a:lnTo>
                  <a:pt x="130" y="360"/>
                </a:lnTo>
                <a:lnTo>
                  <a:pt x="146" y="364"/>
                </a:lnTo>
                <a:lnTo>
                  <a:pt x="166" y="368"/>
                </a:lnTo>
                <a:lnTo>
                  <a:pt x="184" y="368"/>
                </a:lnTo>
                <a:lnTo>
                  <a:pt x="202" y="368"/>
                </a:lnTo>
                <a:lnTo>
                  <a:pt x="222" y="364"/>
                </a:lnTo>
                <a:lnTo>
                  <a:pt x="238" y="360"/>
                </a:lnTo>
                <a:lnTo>
                  <a:pt x="256" y="354"/>
                </a:lnTo>
                <a:lnTo>
                  <a:pt x="272" y="346"/>
                </a:lnTo>
                <a:lnTo>
                  <a:pt x="286" y="336"/>
                </a:lnTo>
                <a:lnTo>
                  <a:pt x="300" y="326"/>
                </a:lnTo>
                <a:lnTo>
                  <a:pt x="314" y="314"/>
                </a:lnTo>
                <a:lnTo>
                  <a:pt x="326" y="300"/>
                </a:lnTo>
                <a:lnTo>
                  <a:pt x="336" y="286"/>
                </a:lnTo>
                <a:lnTo>
                  <a:pt x="346" y="272"/>
                </a:lnTo>
                <a:lnTo>
                  <a:pt x="354" y="256"/>
                </a:lnTo>
                <a:lnTo>
                  <a:pt x="360" y="238"/>
                </a:lnTo>
                <a:lnTo>
                  <a:pt x="364" y="222"/>
                </a:lnTo>
                <a:lnTo>
                  <a:pt x="368" y="202"/>
                </a:lnTo>
                <a:lnTo>
                  <a:pt x="368" y="184"/>
                </a:lnTo>
                <a:lnTo>
                  <a:pt x="368" y="166"/>
                </a:lnTo>
                <a:lnTo>
                  <a:pt x="364" y="146"/>
                </a:lnTo>
                <a:lnTo>
                  <a:pt x="360" y="130"/>
                </a:lnTo>
                <a:lnTo>
                  <a:pt x="354" y="112"/>
                </a:lnTo>
                <a:lnTo>
                  <a:pt x="346" y="96"/>
                </a:lnTo>
                <a:lnTo>
                  <a:pt x="336" y="82"/>
                </a:lnTo>
                <a:lnTo>
                  <a:pt x="326" y="68"/>
                </a:lnTo>
                <a:lnTo>
                  <a:pt x="314" y="54"/>
                </a:lnTo>
                <a:lnTo>
                  <a:pt x="300" y="42"/>
                </a:lnTo>
                <a:lnTo>
                  <a:pt x="286" y="32"/>
                </a:lnTo>
                <a:lnTo>
                  <a:pt x="272" y="22"/>
                </a:lnTo>
                <a:lnTo>
                  <a:pt x="256" y="14"/>
                </a:lnTo>
                <a:lnTo>
                  <a:pt x="238" y="8"/>
                </a:lnTo>
                <a:lnTo>
                  <a:pt x="222" y="4"/>
                </a:lnTo>
                <a:lnTo>
                  <a:pt x="202" y="0"/>
                </a:lnTo>
                <a:lnTo>
                  <a:pt x="184" y="0"/>
                </a:lnTo>
                <a:lnTo>
                  <a:pt x="166" y="0"/>
                </a:lnTo>
                <a:lnTo>
                  <a:pt x="146" y="4"/>
                </a:lnTo>
                <a:lnTo>
                  <a:pt x="130" y="8"/>
                </a:lnTo>
                <a:lnTo>
                  <a:pt x="112" y="14"/>
                </a:lnTo>
                <a:lnTo>
                  <a:pt x="96" y="22"/>
                </a:lnTo>
                <a:lnTo>
                  <a:pt x="82" y="32"/>
                </a:lnTo>
                <a:lnTo>
                  <a:pt x="68" y="42"/>
                </a:lnTo>
                <a:lnTo>
                  <a:pt x="54" y="54"/>
                </a:lnTo>
                <a:lnTo>
                  <a:pt x="42" y="68"/>
                </a:lnTo>
                <a:lnTo>
                  <a:pt x="32" y="82"/>
                </a:lnTo>
                <a:lnTo>
                  <a:pt x="22" y="96"/>
                </a:lnTo>
                <a:lnTo>
                  <a:pt x="14" y="112"/>
                </a:lnTo>
                <a:lnTo>
                  <a:pt x="8" y="130"/>
                </a:lnTo>
                <a:lnTo>
                  <a:pt x="4" y="146"/>
                </a:lnTo>
                <a:lnTo>
                  <a:pt x="0" y="166"/>
                </a:lnTo>
                <a:lnTo>
                  <a:pt x="0" y="184"/>
                </a:lnTo>
                <a:close/>
                <a:moveTo>
                  <a:pt x="80" y="184"/>
                </a:moveTo>
                <a:lnTo>
                  <a:pt x="80" y="184"/>
                </a:lnTo>
                <a:lnTo>
                  <a:pt x="82" y="164"/>
                </a:lnTo>
                <a:lnTo>
                  <a:pt x="88" y="144"/>
                </a:lnTo>
                <a:lnTo>
                  <a:pt x="98" y="126"/>
                </a:lnTo>
                <a:lnTo>
                  <a:pt x="110" y="110"/>
                </a:lnTo>
                <a:lnTo>
                  <a:pt x="126" y="98"/>
                </a:lnTo>
                <a:lnTo>
                  <a:pt x="144" y="88"/>
                </a:lnTo>
                <a:lnTo>
                  <a:pt x="164" y="82"/>
                </a:lnTo>
                <a:lnTo>
                  <a:pt x="184" y="80"/>
                </a:lnTo>
                <a:lnTo>
                  <a:pt x="204" y="82"/>
                </a:lnTo>
                <a:lnTo>
                  <a:pt x="224" y="88"/>
                </a:lnTo>
                <a:lnTo>
                  <a:pt x="242" y="98"/>
                </a:lnTo>
                <a:lnTo>
                  <a:pt x="258" y="110"/>
                </a:lnTo>
                <a:lnTo>
                  <a:pt x="270" y="126"/>
                </a:lnTo>
                <a:lnTo>
                  <a:pt x="280" y="144"/>
                </a:lnTo>
                <a:lnTo>
                  <a:pt x="286" y="164"/>
                </a:lnTo>
                <a:lnTo>
                  <a:pt x="288" y="184"/>
                </a:lnTo>
                <a:lnTo>
                  <a:pt x="286" y="204"/>
                </a:lnTo>
                <a:lnTo>
                  <a:pt x="280" y="224"/>
                </a:lnTo>
                <a:lnTo>
                  <a:pt x="270" y="242"/>
                </a:lnTo>
                <a:lnTo>
                  <a:pt x="258" y="258"/>
                </a:lnTo>
                <a:lnTo>
                  <a:pt x="242" y="270"/>
                </a:lnTo>
                <a:lnTo>
                  <a:pt x="224" y="280"/>
                </a:lnTo>
                <a:lnTo>
                  <a:pt x="204" y="286"/>
                </a:lnTo>
                <a:lnTo>
                  <a:pt x="184" y="288"/>
                </a:lnTo>
                <a:lnTo>
                  <a:pt x="164" y="286"/>
                </a:lnTo>
                <a:lnTo>
                  <a:pt x="144" y="280"/>
                </a:lnTo>
                <a:lnTo>
                  <a:pt x="126" y="270"/>
                </a:lnTo>
                <a:lnTo>
                  <a:pt x="110" y="258"/>
                </a:lnTo>
                <a:lnTo>
                  <a:pt x="98" y="242"/>
                </a:lnTo>
                <a:lnTo>
                  <a:pt x="88" y="224"/>
                </a:lnTo>
                <a:lnTo>
                  <a:pt x="82" y="204"/>
                </a:lnTo>
                <a:lnTo>
                  <a:pt x="80" y="184"/>
                </a:lnTo>
                <a:close/>
              </a:path>
            </a:pathLst>
          </a:custGeom>
          <a:solidFill>
            <a:srgbClr val="654E25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" name="Freeform 9"/>
          <p:cNvSpPr>
            <a:spLocks noEditPoints="1"/>
          </p:cNvSpPr>
          <p:nvPr/>
        </p:nvSpPr>
        <p:spPr bwMode="auto">
          <a:xfrm>
            <a:off x="7613650" y="2330450"/>
            <a:ext cx="844550" cy="844550"/>
          </a:xfrm>
          <a:custGeom>
            <a:avLst/>
            <a:gdLst>
              <a:gd name="T0" fmla="*/ 2147483646 w 656"/>
              <a:gd name="T1" fmla="*/ 2147483646 h 656"/>
              <a:gd name="T2" fmla="*/ 2147483646 w 656"/>
              <a:gd name="T3" fmla="*/ 2147483646 h 656"/>
              <a:gd name="T4" fmla="*/ 2147483646 w 656"/>
              <a:gd name="T5" fmla="*/ 2147483646 h 656"/>
              <a:gd name="T6" fmla="*/ 2147483646 w 656"/>
              <a:gd name="T7" fmla="*/ 2147483646 h 656"/>
              <a:gd name="T8" fmla="*/ 2147483646 w 656"/>
              <a:gd name="T9" fmla="*/ 2147483646 h 656"/>
              <a:gd name="T10" fmla="*/ 2147483646 w 656"/>
              <a:gd name="T11" fmla="*/ 2147483646 h 656"/>
              <a:gd name="T12" fmla="*/ 2147483646 w 656"/>
              <a:gd name="T13" fmla="*/ 2147483646 h 656"/>
              <a:gd name="T14" fmla="*/ 2147483646 w 656"/>
              <a:gd name="T15" fmla="*/ 2147483646 h 656"/>
              <a:gd name="T16" fmla="*/ 2147483646 w 656"/>
              <a:gd name="T17" fmla="*/ 2147483646 h 656"/>
              <a:gd name="T18" fmla="*/ 2147483646 w 656"/>
              <a:gd name="T19" fmla="*/ 2147483646 h 656"/>
              <a:gd name="T20" fmla="*/ 2147483646 w 656"/>
              <a:gd name="T21" fmla="*/ 2147483646 h 656"/>
              <a:gd name="T22" fmla="*/ 2147483646 w 656"/>
              <a:gd name="T23" fmla="*/ 2147483646 h 656"/>
              <a:gd name="T24" fmla="*/ 2147483646 w 656"/>
              <a:gd name="T25" fmla="*/ 2147483646 h 656"/>
              <a:gd name="T26" fmla="*/ 2147483646 w 656"/>
              <a:gd name="T27" fmla="*/ 2147483646 h 656"/>
              <a:gd name="T28" fmla="*/ 2147483646 w 656"/>
              <a:gd name="T29" fmla="*/ 2147483646 h 656"/>
              <a:gd name="T30" fmla="*/ 2147483646 w 656"/>
              <a:gd name="T31" fmla="*/ 2147483646 h 656"/>
              <a:gd name="T32" fmla="*/ 2147483646 w 656"/>
              <a:gd name="T33" fmla="*/ 2147483646 h 656"/>
              <a:gd name="T34" fmla="*/ 2147483646 w 656"/>
              <a:gd name="T35" fmla="*/ 2147483646 h 656"/>
              <a:gd name="T36" fmla="*/ 2147483646 w 656"/>
              <a:gd name="T37" fmla="*/ 2147483646 h 656"/>
              <a:gd name="T38" fmla="*/ 2147483646 w 656"/>
              <a:gd name="T39" fmla="*/ 2147483646 h 656"/>
              <a:gd name="T40" fmla="*/ 2147483646 w 656"/>
              <a:gd name="T41" fmla="*/ 2147483646 h 656"/>
              <a:gd name="T42" fmla="*/ 2147483646 w 656"/>
              <a:gd name="T43" fmla="*/ 2147483646 h 656"/>
              <a:gd name="T44" fmla="*/ 0 w 656"/>
              <a:gd name="T45" fmla="*/ 2147483646 h 656"/>
              <a:gd name="T46" fmla="*/ 2147483646 w 656"/>
              <a:gd name="T47" fmla="*/ 2147483646 h 656"/>
              <a:gd name="T48" fmla="*/ 2147483646 w 656"/>
              <a:gd name="T49" fmla="*/ 2147483646 h 656"/>
              <a:gd name="T50" fmla="*/ 2147483646 w 656"/>
              <a:gd name="T51" fmla="*/ 2147483646 h 656"/>
              <a:gd name="T52" fmla="*/ 2147483646 w 656"/>
              <a:gd name="T53" fmla="*/ 2147483646 h 656"/>
              <a:gd name="T54" fmla="*/ 2147483646 w 656"/>
              <a:gd name="T55" fmla="*/ 2147483646 h 656"/>
              <a:gd name="T56" fmla="*/ 2147483646 w 656"/>
              <a:gd name="T57" fmla="*/ 2147483646 h 656"/>
              <a:gd name="T58" fmla="*/ 2147483646 w 656"/>
              <a:gd name="T59" fmla="*/ 2147483646 h 656"/>
              <a:gd name="T60" fmla="*/ 2147483646 w 656"/>
              <a:gd name="T61" fmla="*/ 2147483646 h 656"/>
              <a:gd name="T62" fmla="*/ 2147483646 w 656"/>
              <a:gd name="T63" fmla="*/ 2147483646 h 656"/>
              <a:gd name="T64" fmla="*/ 2147483646 w 656"/>
              <a:gd name="T65" fmla="*/ 2147483646 h 656"/>
              <a:gd name="T66" fmla="*/ 2147483646 w 656"/>
              <a:gd name="T67" fmla="*/ 2147483646 h 656"/>
              <a:gd name="T68" fmla="*/ 2147483646 w 656"/>
              <a:gd name="T69" fmla="*/ 2147483646 h 656"/>
              <a:gd name="T70" fmla="*/ 2147483646 w 656"/>
              <a:gd name="T71" fmla="*/ 2147483646 h 656"/>
              <a:gd name="T72" fmla="*/ 2147483646 w 656"/>
              <a:gd name="T73" fmla="*/ 2147483646 h 656"/>
              <a:gd name="T74" fmla="*/ 2147483646 w 656"/>
              <a:gd name="T75" fmla="*/ 2147483646 h 656"/>
              <a:gd name="T76" fmla="*/ 2147483646 w 656"/>
              <a:gd name="T77" fmla="*/ 2147483646 h 656"/>
              <a:gd name="T78" fmla="*/ 2147483646 w 656"/>
              <a:gd name="T79" fmla="*/ 2147483646 h 656"/>
              <a:gd name="T80" fmla="*/ 2147483646 w 656"/>
              <a:gd name="T81" fmla="*/ 2147483646 h 656"/>
              <a:gd name="T82" fmla="*/ 2147483646 w 656"/>
              <a:gd name="T83" fmla="*/ 2147483646 h 656"/>
              <a:gd name="T84" fmla="*/ 2147483646 w 656"/>
              <a:gd name="T85" fmla="*/ 2147483646 h 656"/>
              <a:gd name="T86" fmla="*/ 2147483646 w 656"/>
              <a:gd name="T87" fmla="*/ 2147483646 h 656"/>
              <a:gd name="T88" fmla="*/ 2147483646 w 656"/>
              <a:gd name="T89" fmla="*/ 2147483646 h 656"/>
              <a:gd name="T90" fmla="*/ 2147483646 w 656"/>
              <a:gd name="T91" fmla="*/ 2147483646 h 65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656" h="656">
                <a:moveTo>
                  <a:pt x="0" y="328"/>
                </a:moveTo>
                <a:lnTo>
                  <a:pt x="0" y="328"/>
                </a:lnTo>
                <a:lnTo>
                  <a:pt x="2" y="362"/>
                </a:lnTo>
                <a:lnTo>
                  <a:pt x="6" y="394"/>
                </a:lnTo>
                <a:lnTo>
                  <a:pt x="14" y="426"/>
                </a:lnTo>
                <a:lnTo>
                  <a:pt x="26" y="456"/>
                </a:lnTo>
                <a:lnTo>
                  <a:pt x="40" y="484"/>
                </a:lnTo>
                <a:lnTo>
                  <a:pt x="56" y="512"/>
                </a:lnTo>
                <a:lnTo>
                  <a:pt x="74" y="536"/>
                </a:lnTo>
                <a:lnTo>
                  <a:pt x="96" y="560"/>
                </a:lnTo>
                <a:lnTo>
                  <a:pt x="120" y="582"/>
                </a:lnTo>
                <a:lnTo>
                  <a:pt x="144" y="600"/>
                </a:lnTo>
                <a:lnTo>
                  <a:pt x="172" y="616"/>
                </a:lnTo>
                <a:lnTo>
                  <a:pt x="200" y="630"/>
                </a:lnTo>
                <a:lnTo>
                  <a:pt x="230" y="642"/>
                </a:lnTo>
                <a:lnTo>
                  <a:pt x="262" y="650"/>
                </a:lnTo>
                <a:lnTo>
                  <a:pt x="294" y="654"/>
                </a:lnTo>
                <a:lnTo>
                  <a:pt x="328" y="656"/>
                </a:lnTo>
                <a:lnTo>
                  <a:pt x="362" y="654"/>
                </a:lnTo>
                <a:lnTo>
                  <a:pt x="394" y="650"/>
                </a:lnTo>
                <a:lnTo>
                  <a:pt x="426" y="642"/>
                </a:lnTo>
                <a:lnTo>
                  <a:pt x="456" y="630"/>
                </a:lnTo>
                <a:lnTo>
                  <a:pt x="484" y="616"/>
                </a:lnTo>
                <a:lnTo>
                  <a:pt x="512" y="600"/>
                </a:lnTo>
                <a:lnTo>
                  <a:pt x="536" y="582"/>
                </a:lnTo>
                <a:lnTo>
                  <a:pt x="560" y="560"/>
                </a:lnTo>
                <a:lnTo>
                  <a:pt x="582" y="536"/>
                </a:lnTo>
                <a:lnTo>
                  <a:pt x="600" y="512"/>
                </a:lnTo>
                <a:lnTo>
                  <a:pt x="616" y="484"/>
                </a:lnTo>
                <a:lnTo>
                  <a:pt x="630" y="456"/>
                </a:lnTo>
                <a:lnTo>
                  <a:pt x="642" y="426"/>
                </a:lnTo>
                <a:lnTo>
                  <a:pt x="650" y="394"/>
                </a:lnTo>
                <a:lnTo>
                  <a:pt x="654" y="362"/>
                </a:lnTo>
                <a:lnTo>
                  <a:pt x="656" y="328"/>
                </a:lnTo>
                <a:lnTo>
                  <a:pt x="654" y="294"/>
                </a:lnTo>
                <a:lnTo>
                  <a:pt x="650" y="262"/>
                </a:lnTo>
                <a:lnTo>
                  <a:pt x="642" y="230"/>
                </a:lnTo>
                <a:lnTo>
                  <a:pt x="630" y="200"/>
                </a:lnTo>
                <a:lnTo>
                  <a:pt x="616" y="172"/>
                </a:lnTo>
                <a:lnTo>
                  <a:pt x="600" y="144"/>
                </a:lnTo>
                <a:lnTo>
                  <a:pt x="582" y="120"/>
                </a:lnTo>
                <a:lnTo>
                  <a:pt x="560" y="96"/>
                </a:lnTo>
                <a:lnTo>
                  <a:pt x="536" y="74"/>
                </a:lnTo>
                <a:lnTo>
                  <a:pt x="512" y="56"/>
                </a:lnTo>
                <a:lnTo>
                  <a:pt x="484" y="40"/>
                </a:lnTo>
                <a:lnTo>
                  <a:pt x="456" y="26"/>
                </a:lnTo>
                <a:lnTo>
                  <a:pt x="426" y="14"/>
                </a:lnTo>
                <a:lnTo>
                  <a:pt x="394" y="6"/>
                </a:lnTo>
                <a:lnTo>
                  <a:pt x="362" y="2"/>
                </a:lnTo>
                <a:lnTo>
                  <a:pt x="328" y="0"/>
                </a:lnTo>
                <a:lnTo>
                  <a:pt x="294" y="2"/>
                </a:lnTo>
                <a:lnTo>
                  <a:pt x="262" y="6"/>
                </a:lnTo>
                <a:lnTo>
                  <a:pt x="230" y="14"/>
                </a:lnTo>
                <a:lnTo>
                  <a:pt x="200" y="26"/>
                </a:lnTo>
                <a:lnTo>
                  <a:pt x="172" y="40"/>
                </a:lnTo>
                <a:lnTo>
                  <a:pt x="144" y="56"/>
                </a:lnTo>
                <a:lnTo>
                  <a:pt x="120" y="74"/>
                </a:lnTo>
                <a:lnTo>
                  <a:pt x="96" y="96"/>
                </a:lnTo>
                <a:lnTo>
                  <a:pt x="74" y="120"/>
                </a:lnTo>
                <a:lnTo>
                  <a:pt x="56" y="144"/>
                </a:lnTo>
                <a:lnTo>
                  <a:pt x="40" y="172"/>
                </a:lnTo>
                <a:lnTo>
                  <a:pt x="26" y="200"/>
                </a:lnTo>
                <a:lnTo>
                  <a:pt x="14" y="230"/>
                </a:lnTo>
                <a:lnTo>
                  <a:pt x="6" y="262"/>
                </a:lnTo>
                <a:lnTo>
                  <a:pt x="2" y="294"/>
                </a:lnTo>
                <a:lnTo>
                  <a:pt x="0" y="328"/>
                </a:lnTo>
                <a:close/>
                <a:moveTo>
                  <a:pt x="80" y="328"/>
                </a:moveTo>
                <a:lnTo>
                  <a:pt x="80" y="328"/>
                </a:lnTo>
                <a:lnTo>
                  <a:pt x="82" y="302"/>
                </a:lnTo>
                <a:lnTo>
                  <a:pt x="86" y="278"/>
                </a:lnTo>
                <a:lnTo>
                  <a:pt x="92" y="254"/>
                </a:lnTo>
                <a:lnTo>
                  <a:pt x="100" y="232"/>
                </a:lnTo>
                <a:lnTo>
                  <a:pt x="110" y="210"/>
                </a:lnTo>
                <a:lnTo>
                  <a:pt x="122" y="190"/>
                </a:lnTo>
                <a:lnTo>
                  <a:pt x="136" y="170"/>
                </a:lnTo>
                <a:lnTo>
                  <a:pt x="152" y="152"/>
                </a:lnTo>
                <a:lnTo>
                  <a:pt x="170" y="136"/>
                </a:lnTo>
                <a:lnTo>
                  <a:pt x="190" y="122"/>
                </a:lnTo>
                <a:lnTo>
                  <a:pt x="210" y="110"/>
                </a:lnTo>
                <a:lnTo>
                  <a:pt x="232" y="100"/>
                </a:lnTo>
                <a:lnTo>
                  <a:pt x="254" y="92"/>
                </a:lnTo>
                <a:lnTo>
                  <a:pt x="278" y="86"/>
                </a:lnTo>
                <a:lnTo>
                  <a:pt x="302" y="82"/>
                </a:lnTo>
                <a:lnTo>
                  <a:pt x="328" y="80"/>
                </a:lnTo>
                <a:lnTo>
                  <a:pt x="354" y="82"/>
                </a:lnTo>
                <a:lnTo>
                  <a:pt x="378" y="86"/>
                </a:lnTo>
                <a:lnTo>
                  <a:pt x="402" y="92"/>
                </a:lnTo>
                <a:lnTo>
                  <a:pt x="424" y="100"/>
                </a:lnTo>
                <a:lnTo>
                  <a:pt x="446" y="110"/>
                </a:lnTo>
                <a:lnTo>
                  <a:pt x="466" y="122"/>
                </a:lnTo>
                <a:lnTo>
                  <a:pt x="486" y="136"/>
                </a:lnTo>
                <a:lnTo>
                  <a:pt x="504" y="152"/>
                </a:lnTo>
                <a:lnTo>
                  <a:pt x="520" y="170"/>
                </a:lnTo>
                <a:lnTo>
                  <a:pt x="534" y="190"/>
                </a:lnTo>
                <a:lnTo>
                  <a:pt x="546" y="210"/>
                </a:lnTo>
                <a:lnTo>
                  <a:pt x="556" y="232"/>
                </a:lnTo>
                <a:lnTo>
                  <a:pt x="564" y="254"/>
                </a:lnTo>
                <a:lnTo>
                  <a:pt x="570" y="278"/>
                </a:lnTo>
                <a:lnTo>
                  <a:pt x="574" y="302"/>
                </a:lnTo>
                <a:lnTo>
                  <a:pt x="576" y="328"/>
                </a:lnTo>
                <a:lnTo>
                  <a:pt x="574" y="354"/>
                </a:lnTo>
                <a:lnTo>
                  <a:pt x="570" y="378"/>
                </a:lnTo>
                <a:lnTo>
                  <a:pt x="564" y="402"/>
                </a:lnTo>
                <a:lnTo>
                  <a:pt x="556" y="424"/>
                </a:lnTo>
                <a:lnTo>
                  <a:pt x="546" y="446"/>
                </a:lnTo>
                <a:lnTo>
                  <a:pt x="534" y="466"/>
                </a:lnTo>
                <a:lnTo>
                  <a:pt x="520" y="486"/>
                </a:lnTo>
                <a:lnTo>
                  <a:pt x="504" y="504"/>
                </a:lnTo>
                <a:lnTo>
                  <a:pt x="486" y="520"/>
                </a:lnTo>
                <a:lnTo>
                  <a:pt x="466" y="534"/>
                </a:lnTo>
                <a:lnTo>
                  <a:pt x="446" y="546"/>
                </a:lnTo>
                <a:lnTo>
                  <a:pt x="424" y="556"/>
                </a:lnTo>
                <a:lnTo>
                  <a:pt x="402" y="564"/>
                </a:lnTo>
                <a:lnTo>
                  <a:pt x="378" y="570"/>
                </a:lnTo>
                <a:lnTo>
                  <a:pt x="354" y="574"/>
                </a:lnTo>
                <a:lnTo>
                  <a:pt x="328" y="576"/>
                </a:lnTo>
                <a:lnTo>
                  <a:pt x="302" y="574"/>
                </a:lnTo>
                <a:lnTo>
                  <a:pt x="278" y="570"/>
                </a:lnTo>
                <a:lnTo>
                  <a:pt x="254" y="564"/>
                </a:lnTo>
                <a:lnTo>
                  <a:pt x="232" y="556"/>
                </a:lnTo>
                <a:lnTo>
                  <a:pt x="210" y="546"/>
                </a:lnTo>
                <a:lnTo>
                  <a:pt x="190" y="534"/>
                </a:lnTo>
                <a:lnTo>
                  <a:pt x="170" y="520"/>
                </a:lnTo>
                <a:lnTo>
                  <a:pt x="152" y="504"/>
                </a:lnTo>
                <a:lnTo>
                  <a:pt x="136" y="486"/>
                </a:lnTo>
                <a:lnTo>
                  <a:pt x="122" y="466"/>
                </a:lnTo>
                <a:lnTo>
                  <a:pt x="110" y="446"/>
                </a:lnTo>
                <a:lnTo>
                  <a:pt x="100" y="424"/>
                </a:lnTo>
                <a:lnTo>
                  <a:pt x="92" y="402"/>
                </a:lnTo>
                <a:lnTo>
                  <a:pt x="86" y="378"/>
                </a:lnTo>
                <a:lnTo>
                  <a:pt x="82" y="354"/>
                </a:lnTo>
                <a:lnTo>
                  <a:pt x="80" y="328"/>
                </a:lnTo>
                <a:close/>
              </a:path>
            </a:pathLst>
          </a:custGeom>
          <a:solidFill>
            <a:srgbClr val="654E25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" name="Freeform 10"/>
          <p:cNvSpPr>
            <a:spLocks noEditPoints="1"/>
          </p:cNvSpPr>
          <p:nvPr/>
        </p:nvSpPr>
        <p:spPr bwMode="auto">
          <a:xfrm>
            <a:off x="7427913" y="2144713"/>
            <a:ext cx="1216025" cy="1216025"/>
          </a:xfrm>
          <a:custGeom>
            <a:avLst/>
            <a:gdLst>
              <a:gd name="T0" fmla="*/ 0 w 944"/>
              <a:gd name="T1" fmla="*/ 2147483646 h 944"/>
              <a:gd name="T2" fmla="*/ 2147483646 w 944"/>
              <a:gd name="T3" fmla="*/ 2147483646 h 944"/>
              <a:gd name="T4" fmla="*/ 2147483646 w 944"/>
              <a:gd name="T5" fmla="*/ 2147483646 h 944"/>
              <a:gd name="T6" fmla="*/ 2147483646 w 944"/>
              <a:gd name="T7" fmla="*/ 2147483646 h 944"/>
              <a:gd name="T8" fmla="*/ 2147483646 w 944"/>
              <a:gd name="T9" fmla="*/ 2147483646 h 944"/>
              <a:gd name="T10" fmla="*/ 2147483646 w 944"/>
              <a:gd name="T11" fmla="*/ 2147483646 h 944"/>
              <a:gd name="T12" fmla="*/ 2147483646 w 944"/>
              <a:gd name="T13" fmla="*/ 2147483646 h 944"/>
              <a:gd name="T14" fmla="*/ 2147483646 w 944"/>
              <a:gd name="T15" fmla="*/ 2147483646 h 944"/>
              <a:gd name="T16" fmla="*/ 2147483646 w 944"/>
              <a:gd name="T17" fmla="*/ 2147483646 h 944"/>
              <a:gd name="T18" fmla="*/ 2147483646 w 944"/>
              <a:gd name="T19" fmla="*/ 2147483646 h 944"/>
              <a:gd name="T20" fmla="*/ 2147483646 w 944"/>
              <a:gd name="T21" fmla="*/ 2147483646 h 944"/>
              <a:gd name="T22" fmla="*/ 2147483646 w 944"/>
              <a:gd name="T23" fmla="*/ 2147483646 h 944"/>
              <a:gd name="T24" fmla="*/ 2147483646 w 944"/>
              <a:gd name="T25" fmla="*/ 2147483646 h 944"/>
              <a:gd name="T26" fmla="*/ 2147483646 w 944"/>
              <a:gd name="T27" fmla="*/ 2147483646 h 944"/>
              <a:gd name="T28" fmla="*/ 2147483646 w 944"/>
              <a:gd name="T29" fmla="*/ 2147483646 h 944"/>
              <a:gd name="T30" fmla="*/ 2147483646 w 944"/>
              <a:gd name="T31" fmla="*/ 2147483646 h 944"/>
              <a:gd name="T32" fmla="*/ 2147483646 w 944"/>
              <a:gd name="T33" fmla="*/ 2147483646 h 944"/>
              <a:gd name="T34" fmla="*/ 2147483646 w 944"/>
              <a:gd name="T35" fmla="*/ 2147483646 h 944"/>
              <a:gd name="T36" fmla="*/ 2147483646 w 944"/>
              <a:gd name="T37" fmla="*/ 2147483646 h 944"/>
              <a:gd name="T38" fmla="*/ 2147483646 w 944"/>
              <a:gd name="T39" fmla="*/ 2147483646 h 944"/>
              <a:gd name="T40" fmla="*/ 2147483646 w 944"/>
              <a:gd name="T41" fmla="*/ 0 h 944"/>
              <a:gd name="T42" fmla="*/ 2147483646 w 944"/>
              <a:gd name="T43" fmla="*/ 0 h 944"/>
              <a:gd name="T44" fmla="*/ 2147483646 w 944"/>
              <a:gd name="T45" fmla="*/ 2147483646 h 944"/>
              <a:gd name="T46" fmla="*/ 2147483646 w 944"/>
              <a:gd name="T47" fmla="*/ 2147483646 h 944"/>
              <a:gd name="T48" fmla="*/ 2147483646 w 944"/>
              <a:gd name="T49" fmla="*/ 2147483646 h 944"/>
              <a:gd name="T50" fmla="*/ 2147483646 w 944"/>
              <a:gd name="T51" fmla="*/ 2147483646 h 944"/>
              <a:gd name="T52" fmla="*/ 2147483646 w 944"/>
              <a:gd name="T53" fmla="*/ 2147483646 h 944"/>
              <a:gd name="T54" fmla="*/ 0 w 944"/>
              <a:gd name="T55" fmla="*/ 2147483646 h 944"/>
              <a:gd name="T56" fmla="*/ 2147483646 w 944"/>
              <a:gd name="T57" fmla="*/ 2147483646 h 944"/>
              <a:gd name="T58" fmla="*/ 2147483646 w 944"/>
              <a:gd name="T59" fmla="*/ 2147483646 h 944"/>
              <a:gd name="T60" fmla="*/ 2147483646 w 944"/>
              <a:gd name="T61" fmla="*/ 2147483646 h 944"/>
              <a:gd name="T62" fmla="*/ 2147483646 w 944"/>
              <a:gd name="T63" fmla="*/ 2147483646 h 944"/>
              <a:gd name="T64" fmla="*/ 2147483646 w 944"/>
              <a:gd name="T65" fmla="*/ 2147483646 h 944"/>
              <a:gd name="T66" fmla="*/ 2147483646 w 944"/>
              <a:gd name="T67" fmla="*/ 2147483646 h 944"/>
              <a:gd name="T68" fmla="*/ 2147483646 w 944"/>
              <a:gd name="T69" fmla="*/ 2147483646 h 944"/>
              <a:gd name="T70" fmla="*/ 2147483646 w 944"/>
              <a:gd name="T71" fmla="*/ 2147483646 h 944"/>
              <a:gd name="T72" fmla="*/ 2147483646 w 944"/>
              <a:gd name="T73" fmla="*/ 2147483646 h 944"/>
              <a:gd name="T74" fmla="*/ 2147483646 w 944"/>
              <a:gd name="T75" fmla="*/ 2147483646 h 944"/>
              <a:gd name="T76" fmla="*/ 2147483646 w 944"/>
              <a:gd name="T77" fmla="*/ 2147483646 h 944"/>
              <a:gd name="T78" fmla="*/ 2147483646 w 944"/>
              <a:gd name="T79" fmla="*/ 2147483646 h 944"/>
              <a:gd name="T80" fmla="*/ 2147483646 w 944"/>
              <a:gd name="T81" fmla="*/ 2147483646 h 944"/>
              <a:gd name="T82" fmla="*/ 2147483646 w 944"/>
              <a:gd name="T83" fmla="*/ 2147483646 h 944"/>
              <a:gd name="T84" fmla="*/ 2147483646 w 944"/>
              <a:gd name="T85" fmla="*/ 2147483646 h 944"/>
              <a:gd name="T86" fmla="*/ 2147483646 w 944"/>
              <a:gd name="T87" fmla="*/ 2147483646 h 944"/>
              <a:gd name="T88" fmla="*/ 2147483646 w 944"/>
              <a:gd name="T89" fmla="*/ 2147483646 h 944"/>
              <a:gd name="T90" fmla="*/ 2147483646 w 944"/>
              <a:gd name="T91" fmla="*/ 2147483646 h 944"/>
              <a:gd name="T92" fmla="*/ 2147483646 w 944"/>
              <a:gd name="T93" fmla="*/ 2147483646 h 944"/>
              <a:gd name="T94" fmla="*/ 2147483646 w 944"/>
              <a:gd name="T95" fmla="*/ 2147483646 h 944"/>
              <a:gd name="T96" fmla="*/ 2147483646 w 944"/>
              <a:gd name="T97" fmla="*/ 2147483646 h 944"/>
              <a:gd name="T98" fmla="*/ 2147483646 w 944"/>
              <a:gd name="T99" fmla="*/ 2147483646 h 944"/>
              <a:gd name="T100" fmla="*/ 2147483646 w 944"/>
              <a:gd name="T101" fmla="*/ 2147483646 h 944"/>
              <a:gd name="T102" fmla="*/ 2147483646 w 944"/>
              <a:gd name="T103" fmla="*/ 2147483646 h 94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4" h="944">
                <a:moveTo>
                  <a:pt x="0" y="472"/>
                </a:moveTo>
                <a:lnTo>
                  <a:pt x="0" y="472"/>
                </a:lnTo>
                <a:lnTo>
                  <a:pt x="0" y="496"/>
                </a:lnTo>
                <a:lnTo>
                  <a:pt x="2" y="520"/>
                </a:lnTo>
                <a:lnTo>
                  <a:pt x="6" y="544"/>
                </a:lnTo>
                <a:lnTo>
                  <a:pt x="10" y="568"/>
                </a:lnTo>
                <a:lnTo>
                  <a:pt x="22" y="612"/>
                </a:lnTo>
                <a:lnTo>
                  <a:pt x="38" y="656"/>
                </a:lnTo>
                <a:lnTo>
                  <a:pt x="58" y="696"/>
                </a:lnTo>
                <a:lnTo>
                  <a:pt x="80" y="736"/>
                </a:lnTo>
                <a:lnTo>
                  <a:pt x="108" y="772"/>
                </a:lnTo>
                <a:lnTo>
                  <a:pt x="138" y="806"/>
                </a:lnTo>
                <a:lnTo>
                  <a:pt x="172" y="836"/>
                </a:lnTo>
                <a:lnTo>
                  <a:pt x="208" y="864"/>
                </a:lnTo>
                <a:lnTo>
                  <a:pt x="248" y="886"/>
                </a:lnTo>
                <a:lnTo>
                  <a:pt x="288" y="906"/>
                </a:lnTo>
                <a:lnTo>
                  <a:pt x="332" y="922"/>
                </a:lnTo>
                <a:lnTo>
                  <a:pt x="376" y="934"/>
                </a:lnTo>
                <a:lnTo>
                  <a:pt x="400" y="938"/>
                </a:lnTo>
                <a:lnTo>
                  <a:pt x="424" y="942"/>
                </a:lnTo>
                <a:lnTo>
                  <a:pt x="448" y="944"/>
                </a:lnTo>
                <a:lnTo>
                  <a:pt x="472" y="944"/>
                </a:lnTo>
                <a:lnTo>
                  <a:pt x="496" y="944"/>
                </a:lnTo>
                <a:lnTo>
                  <a:pt x="520" y="942"/>
                </a:lnTo>
                <a:lnTo>
                  <a:pt x="544" y="938"/>
                </a:lnTo>
                <a:lnTo>
                  <a:pt x="568" y="934"/>
                </a:lnTo>
                <a:lnTo>
                  <a:pt x="612" y="922"/>
                </a:lnTo>
                <a:lnTo>
                  <a:pt x="656" y="906"/>
                </a:lnTo>
                <a:lnTo>
                  <a:pt x="696" y="886"/>
                </a:lnTo>
                <a:lnTo>
                  <a:pt x="736" y="864"/>
                </a:lnTo>
                <a:lnTo>
                  <a:pt x="772" y="836"/>
                </a:lnTo>
                <a:lnTo>
                  <a:pt x="806" y="806"/>
                </a:lnTo>
                <a:lnTo>
                  <a:pt x="836" y="772"/>
                </a:lnTo>
                <a:lnTo>
                  <a:pt x="864" y="736"/>
                </a:lnTo>
                <a:lnTo>
                  <a:pt x="886" y="696"/>
                </a:lnTo>
                <a:lnTo>
                  <a:pt x="906" y="656"/>
                </a:lnTo>
                <a:lnTo>
                  <a:pt x="922" y="612"/>
                </a:lnTo>
                <a:lnTo>
                  <a:pt x="934" y="568"/>
                </a:lnTo>
                <a:lnTo>
                  <a:pt x="938" y="544"/>
                </a:lnTo>
                <a:lnTo>
                  <a:pt x="942" y="520"/>
                </a:lnTo>
                <a:lnTo>
                  <a:pt x="944" y="496"/>
                </a:lnTo>
                <a:lnTo>
                  <a:pt x="944" y="472"/>
                </a:lnTo>
                <a:lnTo>
                  <a:pt x="944" y="448"/>
                </a:lnTo>
                <a:lnTo>
                  <a:pt x="942" y="424"/>
                </a:lnTo>
                <a:lnTo>
                  <a:pt x="938" y="400"/>
                </a:lnTo>
                <a:lnTo>
                  <a:pt x="934" y="376"/>
                </a:lnTo>
                <a:lnTo>
                  <a:pt x="922" y="332"/>
                </a:lnTo>
                <a:lnTo>
                  <a:pt x="906" y="288"/>
                </a:lnTo>
                <a:lnTo>
                  <a:pt x="886" y="248"/>
                </a:lnTo>
                <a:lnTo>
                  <a:pt x="864" y="208"/>
                </a:lnTo>
                <a:lnTo>
                  <a:pt x="836" y="172"/>
                </a:lnTo>
                <a:lnTo>
                  <a:pt x="806" y="138"/>
                </a:lnTo>
                <a:lnTo>
                  <a:pt x="772" y="108"/>
                </a:lnTo>
                <a:lnTo>
                  <a:pt x="736" y="80"/>
                </a:lnTo>
                <a:lnTo>
                  <a:pt x="696" y="58"/>
                </a:lnTo>
                <a:lnTo>
                  <a:pt x="656" y="38"/>
                </a:lnTo>
                <a:lnTo>
                  <a:pt x="612" y="22"/>
                </a:lnTo>
                <a:lnTo>
                  <a:pt x="568" y="10"/>
                </a:lnTo>
                <a:lnTo>
                  <a:pt x="544" y="6"/>
                </a:lnTo>
                <a:lnTo>
                  <a:pt x="520" y="2"/>
                </a:lnTo>
                <a:lnTo>
                  <a:pt x="496" y="0"/>
                </a:lnTo>
                <a:lnTo>
                  <a:pt x="472" y="0"/>
                </a:lnTo>
                <a:lnTo>
                  <a:pt x="448" y="0"/>
                </a:lnTo>
                <a:lnTo>
                  <a:pt x="424" y="2"/>
                </a:lnTo>
                <a:lnTo>
                  <a:pt x="400" y="6"/>
                </a:lnTo>
                <a:lnTo>
                  <a:pt x="376" y="10"/>
                </a:lnTo>
                <a:lnTo>
                  <a:pt x="332" y="22"/>
                </a:lnTo>
                <a:lnTo>
                  <a:pt x="288" y="38"/>
                </a:lnTo>
                <a:lnTo>
                  <a:pt x="248" y="58"/>
                </a:lnTo>
                <a:lnTo>
                  <a:pt x="208" y="80"/>
                </a:lnTo>
                <a:lnTo>
                  <a:pt x="172" y="108"/>
                </a:lnTo>
                <a:lnTo>
                  <a:pt x="138" y="138"/>
                </a:lnTo>
                <a:lnTo>
                  <a:pt x="108" y="172"/>
                </a:lnTo>
                <a:lnTo>
                  <a:pt x="80" y="208"/>
                </a:lnTo>
                <a:lnTo>
                  <a:pt x="58" y="248"/>
                </a:lnTo>
                <a:lnTo>
                  <a:pt x="38" y="288"/>
                </a:lnTo>
                <a:lnTo>
                  <a:pt x="22" y="332"/>
                </a:lnTo>
                <a:lnTo>
                  <a:pt x="10" y="376"/>
                </a:lnTo>
                <a:lnTo>
                  <a:pt x="6" y="400"/>
                </a:lnTo>
                <a:lnTo>
                  <a:pt x="2" y="424"/>
                </a:lnTo>
                <a:lnTo>
                  <a:pt x="0" y="448"/>
                </a:lnTo>
                <a:lnTo>
                  <a:pt x="0" y="472"/>
                </a:lnTo>
                <a:close/>
                <a:moveTo>
                  <a:pt x="80" y="472"/>
                </a:moveTo>
                <a:lnTo>
                  <a:pt x="80" y="472"/>
                </a:lnTo>
                <a:lnTo>
                  <a:pt x="82" y="432"/>
                </a:lnTo>
                <a:lnTo>
                  <a:pt x="88" y="394"/>
                </a:lnTo>
                <a:lnTo>
                  <a:pt x="98" y="356"/>
                </a:lnTo>
                <a:lnTo>
                  <a:pt x="110" y="320"/>
                </a:lnTo>
                <a:lnTo>
                  <a:pt x="128" y="286"/>
                </a:lnTo>
                <a:lnTo>
                  <a:pt x="148" y="252"/>
                </a:lnTo>
                <a:lnTo>
                  <a:pt x="170" y="222"/>
                </a:lnTo>
                <a:lnTo>
                  <a:pt x="194" y="194"/>
                </a:lnTo>
                <a:lnTo>
                  <a:pt x="222" y="170"/>
                </a:lnTo>
                <a:lnTo>
                  <a:pt x="252" y="148"/>
                </a:lnTo>
                <a:lnTo>
                  <a:pt x="286" y="128"/>
                </a:lnTo>
                <a:lnTo>
                  <a:pt x="320" y="110"/>
                </a:lnTo>
                <a:lnTo>
                  <a:pt x="356" y="98"/>
                </a:lnTo>
                <a:lnTo>
                  <a:pt x="394" y="88"/>
                </a:lnTo>
                <a:lnTo>
                  <a:pt x="432" y="82"/>
                </a:lnTo>
                <a:lnTo>
                  <a:pt x="472" y="80"/>
                </a:lnTo>
                <a:lnTo>
                  <a:pt x="512" y="82"/>
                </a:lnTo>
                <a:lnTo>
                  <a:pt x="550" y="88"/>
                </a:lnTo>
                <a:lnTo>
                  <a:pt x="588" y="98"/>
                </a:lnTo>
                <a:lnTo>
                  <a:pt x="624" y="110"/>
                </a:lnTo>
                <a:lnTo>
                  <a:pt x="658" y="128"/>
                </a:lnTo>
                <a:lnTo>
                  <a:pt x="692" y="148"/>
                </a:lnTo>
                <a:lnTo>
                  <a:pt x="722" y="170"/>
                </a:lnTo>
                <a:lnTo>
                  <a:pt x="750" y="194"/>
                </a:lnTo>
                <a:lnTo>
                  <a:pt x="774" y="222"/>
                </a:lnTo>
                <a:lnTo>
                  <a:pt x="796" y="252"/>
                </a:lnTo>
                <a:lnTo>
                  <a:pt x="816" y="286"/>
                </a:lnTo>
                <a:lnTo>
                  <a:pt x="834" y="320"/>
                </a:lnTo>
                <a:lnTo>
                  <a:pt x="846" y="356"/>
                </a:lnTo>
                <a:lnTo>
                  <a:pt x="856" y="394"/>
                </a:lnTo>
                <a:lnTo>
                  <a:pt x="862" y="432"/>
                </a:lnTo>
                <a:lnTo>
                  <a:pt x="864" y="472"/>
                </a:lnTo>
                <a:lnTo>
                  <a:pt x="862" y="512"/>
                </a:lnTo>
                <a:lnTo>
                  <a:pt x="856" y="550"/>
                </a:lnTo>
                <a:lnTo>
                  <a:pt x="846" y="588"/>
                </a:lnTo>
                <a:lnTo>
                  <a:pt x="834" y="624"/>
                </a:lnTo>
                <a:lnTo>
                  <a:pt x="816" y="658"/>
                </a:lnTo>
                <a:lnTo>
                  <a:pt x="796" y="692"/>
                </a:lnTo>
                <a:lnTo>
                  <a:pt x="774" y="722"/>
                </a:lnTo>
                <a:lnTo>
                  <a:pt x="750" y="750"/>
                </a:lnTo>
                <a:lnTo>
                  <a:pt x="722" y="774"/>
                </a:lnTo>
                <a:lnTo>
                  <a:pt x="692" y="796"/>
                </a:lnTo>
                <a:lnTo>
                  <a:pt x="658" y="816"/>
                </a:lnTo>
                <a:lnTo>
                  <a:pt x="624" y="834"/>
                </a:lnTo>
                <a:lnTo>
                  <a:pt x="588" y="846"/>
                </a:lnTo>
                <a:lnTo>
                  <a:pt x="550" y="856"/>
                </a:lnTo>
                <a:lnTo>
                  <a:pt x="512" y="862"/>
                </a:lnTo>
                <a:lnTo>
                  <a:pt x="472" y="864"/>
                </a:lnTo>
                <a:lnTo>
                  <a:pt x="432" y="862"/>
                </a:lnTo>
                <a:lnTo>
                  <a:pt x="394" y="856"/>
                </a:lnTo>
                <a:lnTo>
                  <a:pt x="356" y="846"/>
                </a:lnTo>
                <a:lnTo>
                  <a:pt x="320" y="834"/>
                </a:lnTo>
                <a:lnTo>
                  <a:pt x="286" y="816"/>
                </a:lnTo>
                <a:lnTo>
                  <a:pt x="252" y="796"/>
                </a:lnTo>
                <a:lnTo>
                  <a:pt x="222" y="774"/>
                </a:lnTo>
                <a:lnTo>
                  <a:pt x="194" y="750"/>
                </a:lnTo>
                <a:lnTo>
                  <a:pt x="170" y="722"/>
                </a:lnTo>
                <a:lnTo>
                  <a:pt x="148" y="692"/>
                </a:lnTo>
                <a:lnTo>
                  <a:pt x="128" y="658"/>
                </a:lnTo>
                <a:lnTo>
                  <a:pt x="110" y="624"/>
                </a:lnTo>
                <a:lnTo>
                  <a:pt x="98" y="588"/>
                </a:lnTo>
                <a:lnTo>
                  <a:pt x="88" y="550"/>
                </a:lnTo>
                <a:lnTo>
                  <a:pt x="82" y="512"/>
                </a:lnTo>
                <a:lnTo>
                  <a:pt x="80" y="472"/>
                </a:lnTo>
                <a:close/>
              </a:path>
            </a:pathLst>
          </a:custGeom>
          <a:solidFill>
            <a:srgbClr val="654E25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" name="Freeform 11"/>
          <p:cNvSpPr>
            <a:spLocks noEditPoints="1"/>
          </p:cNvSpPr>
          <p:nvPr/>
        </p:nvSpPr>
        <p:spPr bwMode="auto">
          <a:xfrm>
            <a:off x="7242175" y="1958975"/>
            <a:ext cx="1585913" cy="1587500"/>
          </a:xfrm>
          <a:custGeom>
            <a:avLst/>
            <a:gdLst>
              <a:gd name="T0" fmla="*/ 2147483646 w 1232"/>
              <a:gd name="T1" fmla="*/ 2147483646 h 1232"/>
              <a:gd name="T2" fmla="*/ 2147483646 w 1232"/>
              <a:gd name="T3" fmla="*/ 2147483646 h 1232"/>
              <a:gd name="T4" fmla="*/ 2147483646 w 1232"/>
              <a:gd name="T5" fmla="*/ 2147483646 h 1232"/>
              <a:gd name="T6" fmla="*/ 2147483646 w 1232"/>
              <a:gd name="T7" fmla="*/ 2147483646 h 1232"/>
              <a:gd name="T8" fmla="*/ 2147483646 w 1232"/>
              <a:gd name="T9" fmla="*/ 2147483646 h 1232"/>
              <a:gd name="T10" fmla="*/ 2147483646 w 1232"/>
              <a:gd name="T11" fmla="*/ 2147483646 h 1232"/>
              <a:gd name="T12" fmla="*/ 2147483646 w 1232"/>
              <a:gd name="T13" fmla="*/ 2147483646 h 1232"/>
              <a:gd name="T14" fmla="*/ 2147483646 w 1232"/>
              <a:gd name="T15" fmla="*/ 2147483646 h 1232"/>
              <a:gd name="T16" fmla="*/ 2147483646 w 1232"/>
              <a:gd name="T17" fmla="*/ 2147483646 h 1232"/>
              <a:gd name="T18" fmla="*/ 2147483646 w 1232"/>
              <a:gd name="T19" fmla="*/ 2147483646 h 1232"/>
              <a:gd name="T20" fmla="*/ 2147483646 w 1232"/>
              <a:gd name="T21" fmla="*/ 2147483646 h 1232"/>
              <a:gd name="T22" fmla="*/ 2147483646 w 1232"/>
              <a:gd name="T23" fmla="*/ 2147483646 h 1232"/>
              <a:gd name="T24" fmla="*/ 2147483646 w 1232"/>
              <a:gd name="T25" fmla="*/ 2147483646 h 1232"/>
              <a:gd name="T26" fmla="*/ 2147483646 w 1232"/>
              <a:gd name="T27" fmla="*/ 2147483646 h 1232"/>
              <a:gd name="T28" fmla="*/ 2147483646 w 1232"/>
              <a:gd name="T29" fmla="*/ 2147483646 h 1232"/>
              <a:gd name="T30" fmla="*/ 2147483646 w 1232"/>
              <a:gd name="T31" fmla="*/ 2147483646 h 1232"/>
              <a:gd name="T32" fmla="*/ 2147483646 w 1232"/>
              <a:gd name="T33" fmla="*/ 2147483646 h 1232"/>
              <a:gd name="T34" fmla="*/ 2147483646 w 1232"/>
              <a:gd name="T35" fmla="*/ 2147483646 h 1232"/>
              <a:gd name="T36" fmla="*/ 2147483646 w 1232"/>
              <a:gd name="T37" fmla="*/ 2147483646 h 1232"/>
              <a:gd name="T38" fmla="*/ 2147483646 w 1232"/>
              <a:gd name="T39" fmla="*/ 0 h 1232"/>
              <a:gd name="T40" fmla="*/ 2147483646 w 1232"/>
              <a:gd name="T41" fmla="*/ 2147483646 h 1232"/>
              <a:gd name="T42" fmla="*/ 2147483646 w 1232"/>
              <a:gd name="T43" fmla="*/ 2147483646 h 1232"/>
              <a:gd name="T44" fmla="*/ 2147483646 w 1232"/>
              <a:gd name="T45" fmla="*/ 2147483646 h 1232"/>
              <a:gd name="T46" fmla="*/ 2147483646 w 1232"/>
              <a:gd name="T47" fmla="*/ 2147483646 h 1232"/>
              <a:gd name="T48" fmla="*/ 2147483646 w 1232"/>
              <a:gd name="T49" fmla="*/ 2147483646 h 1232"/>
              <a:gd name="T50" fmla="*/ 2147483646 w 1232"/>
              <a:gd name="T51" fmla="*/ 2147483646 h 1232"/>
              <a:gd name="T52" fmla="*/ 2147483646 w 1232"/>
              <a:gd name="T53" fmla="*/ 2147483646 h 1232"/>
              <a:gd name="T54" fmla="*/ 2147483646 w 1232"/>
              <a:gd name="T55" fmla="*/ 2147483646 h 1232"/>
              <a:gd name="T56" fmla="*/ 2147483646 w 1232"/>
              <a:gd name="T57" fmla="*/ 2147483646 h 1232"/>
              <a:gd name="T58" fmla="*/ 2147483646 w 1232"/>
              <a:gd name="T59" fmla="*/ 2147483646 h 1232"/>
              <a:gd name="T60" fmla="*/ 2147483646 w 1232"/>
              <a:gd name="T61" fmla="*/ 2147483646 h 1232"/>
              <a:gd name="T62" fmla="*/ 2147483646 w 1232"/>
              <a:gd name="T63" fmla="*/ 2147483646 h 1232"/>
              <a:gd name="T64" fmla="*/ 2147483646 w 1232"/>
              <a:gd name="T65" fmla="*/ 2147483646 h 1232"/>
              <a:gd name="T66" fmla="*/ 2147483646 w 1232"/>
              <a:gd name="T67" fmla="*/ 2147483646 h 1232"/>
              <a:gd name="T68" fmla="*/ 2147483646 w 1232"/>
              <a:gd name="T69" fmla="*/ 2147483646 h 1232"/>
              <a:gd name="T70" fmla="*/ 2147483646 w 1232"/>
              <a:gd name="T71" fmla="*/ 2147483646 h 1232"/>
              <a:gd name="T72" fmla="*/ 2147483646 w 1232"/>
              <a:gd name="T73" fmla="*/ 2147483646 h 1232"/>
              <a:gd name="T74" fmla="*/ 2147483646 w 1232"/>
              <a:gd name="T75" fmla="*/ 2147483646 h 1232"/>
              <a:gd name="T76" fmla="*/ 2147483646 w 1232"/>
              <a:gd name="T77" fmla="*/ 2147483646 h 1232"/>
              <a:gd name="T78" fmla="*/ 2147483646 w 1232"/>
              <a:gd name="T79" fmla="*/ 2147483646 h 1232"/>
              <a:gd name="T80" fmla="*/ 2147483646 w 1232"/>
              <a:gd name="T81" fmla="*/ 2147483646 h 1232"/>
              <a:gd name="T82" fmla="*/ 2147483646 w 1232"/>
              <a:gd name="T83" fmla="*/ 2147483646 h 1232"/>
              <a:gd name="T84" fmla="*/ 2147483646 w 1232"/>
              <a:gd name="T85" fmla="*/ 2147483646 h 1232"/>
              <a:gd name="T86" fmla="*/ 2147483646 w 1232"/>
              <a:gd name="T87" fmla="*/ 2147483646 h 1232"/>
              <a:gd name="T88" fmla="*/ 2147483646 w 1232"/>
              <a:gd name="T89" fmla="*/ 2147483646 h 1232"/>
              <a:gd name="T90" fmla="*/ 2147483646 w 1232"/>
              <a:gd name="T91" fmla="*/ 2147483646 h 1232"/>
              <a:gd name="T92" fmla="*/ 2147483646 w 1232"/>
              <a:gd name="T93" fmla="*/ 2147483646 h 1232"/>
              <a:gd name="T94" fmla="*/ 2147483646 w 1232"/>
              <a:gd name="T95" fmla="*/ 2147483646 h 1232"/>
              <a:gd name="T96" fmla="*/ 2147483646 w 1232"/>
              <a:gd name="T97" fmla="*/ 2147483646 h 1232"/>
              <a:gd name="T98" fmla="*/ 2147483646 w 1232"/>
              <a:gd name="T99" fmla="*/ 2147483646 h 1232"/>
              <a:gd name="T100" fmla="*/ 2147483646 w 1232"/>
              <a:gd name="T101" fmla="*/ 2147483646 h 1232"/>
              <a:gd name="T102" fmla="*/ 2147483646 w 1232"/>
              <a:gd name="T103" fmla="*/ 2147483646 h 1232"/>
              <a:gd name="T104" fmla="*/ 2147483646 w 1232"/>
              <a:gd name="T105" fmla="*/ 2147483646 h 123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232" h="1232">
                <a:moveTo>
                  <a:pt x="0" y="616"/>
                </a:moveTo>
                <a:lnTo>
                  <a:pt x="0" y="616"/>
                </a:lnTo>
                <a:lnTo>
                  <a:pt x="0" y="648"/>
                </a:lnTo>
                <a:lnTo>
                  <a:pt x="4" y="678"/>
                </a:lnTo>
                <a:lnTo>
                  <a:pt x="8" y="710"/>
                </a:lnTo>
                <a:lnTo>
                  <a:pt x="12" y="740"/>
                </a:lnTo>
                <a:lnTo>
                  <a:pt x="20" y="770"/>
                </a:lnTo>
                <a:lnTo>
                  <a:pt x="28" y="798"/>
                </a:lnTo>
                <a:lnTo>
                  <a:pt x="38" y="828"/>
                </a:lnTo>
                <a:lnTo>
                  <a:pt x="48" y="856"/>
                </a:lnTo>
                <a:lnTo>
                  <a:pt x="60" y="882"/>
                </a:lnTo>
                <a:lnTo>
                  <a:pt x="74" y="910"/>
                </a:lnTo>
                <a:lnTo>
                  <a:pt x="90" y="936"/>
                </a:lnTo>
                <a:lnTo>
                  <a:pt x="106" y="960"/>
                </a:lnTo>
                <a:lnTo>
                  <a:pt x="122" y="984"/>
                </a:lnTo>
                <a:lnTo>
                  <a:pt x="140" y="1008"/>
                </a:lnTo>
                <a:lnTo>
                  <a:pt x="160" y="1030"/>
                </a:lnTo>
                <a:lnTo>
                  <a:pt x="180" y="1052"/>
                </a:lnTo>
                <a:lnTo>
                  <a:pt x="202" y="1072"/>
                </a:lnTo>
                <a:lnTo>
                  <a:pt x="224" y="1092"/>
                </a:lnTo>
                <a:lnTo>
                  <a:pt x="248" y="1110"/>
                </a:lnTo>
                <a:lnTo>
                  <a:pt x="272" y="1126"/>
                </a:lnTo>
                <a:lnTo>
                  <a:pt x="296" y="1142"/>
                </a:lnTo>
                <a:lnTo>
                  <a:pt x="322" y="1158"/>
                </a:lnTo>
                <a:lnTo>
                  <a:pt x="350" y="1172"/>
                </a:lnTo>
                <a:lnTo>
                  <a:pt x="376" y="1184"/>
                </a:lnTo>
                <a:lnTo>
                  <a:pt x="404" y="1194"/>
                </a:lnTo>
                <a:lnTo>
                  <a:pt x="434" y="1204"/>
                </a:lnTo>
                <a:lnTo>
                  <a:pt x="462" y="1212"/>
                </a:lnTo>
                <a:lnTo>
                  <a:pt x="492" y="1220"/>
                </a:lnTo>
                <a:lnTo>
                  <a:pt x="522" y="1224"/>
                </a:lnTo>
                <a:lnTo>
                  <a:pt x="554" y="1228"/>
                </a:lnTo>
                <a:lnTo>
                  <a:pt x="584" y="1232"/>
                </a:lnTo>
                <a:lnTo>
                  <a:pt x="616" y="1232"/>
                </a:lnTo>
                <a:lnTo>
                  <a:pt x="648" y="1232"/>
                </a:lnTo>
                <a:lnTo>
                  <a:pt x="678" y="1228"/>
                </a:lnTo>
                <a:lnTo>
                  <a:pt x="710" y="1224"/>
                </a:lnTo>
                <a:lnTo>
                  <a:pt x="740" y="1220"/>
                </a:lnTo>
                <a:lnTo>
                  <a:pt x="770" y="1212"/>
                </a:lnTo>
                <a:lnTo>
                  <a:pt x="798" y="1204"/>
                </a:lnTo>
                <a:lnTo>
                  <a:pt x="828" y="1194"/>
                </a:lnTo>
                <a:lnTo>
                  <a:pt x="856" y="1184"/>
                </a:lnTo>
                <a:lnTo>
                  <a:pt x="882" y="1172"/>
                </a:lnTo>
                <a:lnTo>
                  <a:pt x="910" y="1158"/>
                </a:lnTo>
                <a:lnTo>
                  <a:pt x="936" y="1142"/>
                </a:lnTo>
                <a:lnTo>
                  <a:pt x="960" y="1126"/>
                </a:lnTo>
                <a:lnTo>
                  <a:pt x="984" y="1110"/>
                </a:lnTo>
                <a:lnTo>
                  <a:pt x="1008" y="1092"/>
                </a:lnTo>
                <a:lnTo>
                  <a:pt x="1030" y="1072"/>
                </a:lnTo>
                <a:lnTo>
                  <a:pt x="1052" y="1052"/>
                </a:lnTo>
                <a:lnTo>
                  <a:pt x="1072" y="1030"/>
                </a:lnTo>
                <a:lnTo>
                  <a:pt x="1092" y="1008"/>
                </a:lnTo>
                <a:lnTo>
                  <a:pt x="1110" y="984"/>
                </a:lnTo>
                <a:lnTo>
                  <a:pt x="1126" y="960"/>
                </a:lnTo>
                <a:lnTo>
                  <a:pt x="1142" y="936"/>
                </a:lnTo>
                <a:lnTo>
                  <a:pt x="1158" y="910"/>
                </a:lnTo>
                <a:lnTo>
                  <a:pt x="1172" y="882"/>
                </a:lnTo>
                <a:lnTo>
                  <a:pt x="1184" y="856"/>
                </a:lnTo>
                <a:lnTo>
                  <a:pt x="1194" y="828"/>
                </a:lnTo>
                <a:lnTo>
                  <a:pt x="1204" y="798"/>
                </a:lnTo>
                <a:lnTo>
                  <a:pt x="1212" y="770"/>
                </a:lnTo>
                <a:lnTo>
                  <a:pt x="1220" y="740"/>
                </a:lnTo>
                <a:lnTo>
                  <a:pt x="1224" y="710"/>
                </a:lnTo>
                <a:lnTo>
                  <a:pt x="1228" y="678"/>
                </a:lnTo>
                <a:lnTo>
                  <a:pt x="1232" y="648"/>
                </a:lnTo>
                <a:lnTo>
                  <a:pt x="1232" y="616"/>
                </a:lnTo>
                <a:lnTo>
                  <a:pt x="1232" y="584"/>
                </a:lnTo>
                <a:lnTo>
                  <a:pt x="1228" y="554"/>
                </a:lnTo>
                <a:lnTo>
                  <a:pt x="1224" y="522"/>
                </a:lnTo>
                <a:lnTo>
                  <a:pt x="1220" y="492"/>
                </a:lnTo>
                <a:lnTo>
                  <a:pt x="1212" y="462"/>
                </a:lnTo>
                <a:lnTo>
                  <a:pt x="1204" y="434"/>
                </a:lnTo>
                <a:lnTo>
                  <a:pt x="1194" y="404"/>
                </a:lnTo>
                <a:lnTo>
                  <a:pt x="1184" y="376"/>
                </a:lnTo>
                <a:lnTo>
                  <a:pt x="1172" y="350"/>
                </a:lnTo>
                <a:lnTo>
                  <a:pt x="1158" y="322"/>
                </a:lnTo>
                <a:lnTo>
                  <a:pt x="1142" y="296"/>
                </a:lnTo>
                <a:lnTo>
                  <a:pt x="1126" y="272"/>
                </a:lnTo>
                <a:lnTo>
                  <a:pt x="1110" y="248"/>
                </a:lnTo>
                <a:lnTo>
                  <a:pt x="1092" y="224"/>
                </a:lnTo>
                <a:lnTo>
                  <a:pt x="1072" y="202"/>
                </a:lnTo>
                <a:lnTo>
                  <a:pt x="1052" y="180"/>
                </a:lnTo>
                <a:lnTo>
                  <a:pt x="1030" y="160"/>
                </a:lnTo>
                <a:lnTo>
                  <a:pt x="1008" y="140"/>
                </a:lnTo>
                <a:lnTo>
                  <a:pt x="984" y="122"/>
                </a:lnTo>
                <a:lnTo>
                  <a:pt x="960" y="106"/>
                </a:lnTo>
                <a:lnTo>
                  <a:pt x="936" y="90"/>
                </a:lnTo>
                <a:lnTo>
                  <a:pt x="910" y="74"/>
                </a:lnTo>
                <a:lnTo>
                  <a:pt x="882" y="60"/>
                </a:lnTo>
                <a:lnTo>
                  <a:pt x="856" y="48"/>
                </a:lnTo>
                <a:lnTo>
                  <a:pt x="828" y="38"/>
                </a:lnTo>
                <a:lnTo>
                  <a:pt x="798" y="28"/>
                </a:lnTo>
                <a:lnTo>
                  <a:pt x="770" y="20"/>
                </a:lnTo>
                <a:lnTo>
                  <a:pt x="740" y="12"/>
                </a:lnTo>
                <a:lnTo>
                  <a:pt x="710" y="8"/>
                </a:lnTo>
                <a:lnTo>
                  <a:pt x="678" y="4"/>
                </a:lnTo>
                <a:lnTo>
                  <a:pt x="648" y="0"/>
                </a:lnTo>
                <a:lnTo>
                  <a:pt x="616" y="0"/>
                </a:lnTo>
                <a:lnTo>
                  <a:pt x="584" y="0"/>
                </a:lnTo>
                <a:lnTo>
                  <a:pt x="554" y="4"/>
                </a:lnTo>
                <a:lnTo>
                  <a:pt x="522" y="8"/>
                </a:lnTo>
                <a:lnTo>
                  <a:pt x="492" y="12"/>
                </a:lnTo>
                <a:lnTo>
                  <a:pt x="462" y="20"/>
                </a:lnTo>
                <a:lnTo>
                  <a:pt x="434" y="28"/>
                </a:lnTo>
                <a:lnTo>
                  <a:pt x="404" y="38"/>
                </a:lnTo>
                <a:lnTo>
                  <a:pt x="376" y="48"/>
                </a:lnTo>
                <a:lnTo>
                  <a:pt x="350" y="60"/>
                </a:lnTo>
                <a:lnTo>
                  <a:pt x="322" y="74"/>
                </a:lnTo>
                <a:lnTo>
                  <a:pt x="296" y="90"/>
                </a:lnTo>
                <a:lnTo>
                  <a:pt x="272" y="106"/>
                </a:lnTo>
                <a:lnTo>
                  <a:pt x="248" y="122"/>
                </a:lnTo>
                <a:lnTo>
                  <a:pt x="224" y="140"/>
                </a:lnTo>
                <a:lnTo>
                  <a:pt x="202" y="160"/>
                </a:lnTo>
                <a:lnTo>
                  <a:pt x="180" y="180"/>
                </a:lnTo>
                <a:lnTo>
                  <a:pt x="160" y="202"/>
                </a:lnTo>
                <a:lnTo>
                  <a:pt x="140" y="224"/>
                </a:lnTo>
                <a:lnTo>
                  <a:pt x="122" y="248"/>
                </a:lnTo>
                <a:lnTo>
                  <a:pt x="106" y="272"/>
                </a:lnTo>
                <a:lnTo>
                  <a:pt x="90" y="296"/>
                </a:lnTo>
                <a:lnTo>
                  <a:pt x="74" y="322"/>
                </a:lnTo>
                <a:lnTo>
                  <a:pt x="60" y="350"/>
                </a:lnTo>
                <a:lnTo>
                  <a:pt x="48" y="376"/>
                </a:lnTo>
                <a:lnTo>
                  <a:pt x="38" y="404"/>
                </a:lnTo>
                <a:lnTo>
                  <a:pt x="28" y="434"/>
                </a:lnTo>
                <a:lnTo>
                  <a:pt x="20" y="462"/>
                </a:lnTo>
                <a:lnTo>
                  <a:pt x="12" y="492"/>
                </a:lnTo>
                <a:lnTo>
                  <a:pt x="8" y="522"/>
                </a:lnTo>
                <a:lnTo>
                  <a:pt x="4" y="554"/>
                </a:lnTo>
                <a:lnTo>
                  <a:pt x="0" y="584"/>
                </a:lnTo>
                <a:lnTo>
                  <a:pt x="0" y="616"/>
                </a:lnTo>
                <a:close/>
                <a:moveTo>
                  <a:pt x="80" y="616"/>
                </a:moveTo>
                <a:lnTo>
                  <a:pt x="80" y="616"/>
                </a:lnTo>
                <a:lnTo>
                  <a:pt x="80" y="588"/>
                </a:lnTo>
                <a:lnTo>
                  <a:pt x="82" y="562"/>
                </a:lnTo>
                <a:lnTo>
                  <a:pt x="86" y="534"/>
                </a:lnTo>
                <a:lnTo>
                  <a:pt x="90" y="508"/>
                </a:lnTo>
                <a:lnTo>
                  <a:pt x="96" y="482"/>
                </a:lnTo>
                <a:lnTo>
                  <a:pt x="104" y="456"/>
                </a:lnTo>
                <a:lnTo>
                  <a:pt x="112" y="432"/>
                </a:lnTo>
                <a:lnTo>
                  <a:pt x="122" y="408"/>
                </a:lnTo>
                <a:lnTo>
                  <a:pt x="132" y="384"/>
                </a:lnTo>
                <a:lnTo>
                  <a:pt x="144" y="360"/>
                </a:lnTo>
                <a:lnTo>
                  <a:pt x="158" y="338"/>
                </a:lnTo>
                <a:lnTo>
                  <a:pt x="172" y="316"/>
                </a:lnTo>
                <a:lnTo>
                  <a:pt x="186" y="296"/>
                </a:lnTo>
                <a:lnTo>
                  <a:pt x="202" y="276"/>
                </a:lnTo>
                <a:lnTo>
                  <a:pt x="220" y="256"/>
                </a:lnTo>
                <a:lnTo>
                  <a:pt x="238" y="238"/>
                </a:lnTo>
                <a:lnTo>
                  <a:pt x="256" y="220"/>
                </a:lnTo>
                <a:lnTo>
                  <a:pt x="276" y="202"/>
                </a:lnTo>
                <a:lnTo>
                  <a:pt x="296" y="186"/>
                </a:lnTo>
                <a:lnTo>
                  <a:pt x="316" y="172"/>
                </a:lnTo>
                <a:lnTo>
                  <a:pt x="338" y="158"/>
                </a:lnTo>
                <a:lnTo>
                  <a:pt x="360" y="144"/>
                </a:lnTo>
                <a:lnTo>
                  <a:pt x="384" y="132"/>
                </a:lnTo>
                <a:lnTo>
                  <a:pt x="408" y="122"/>
                </a:lnTo>
                <a:lnTo>
                  <a:pt x="432" y="112"/>
                </a:lnTo>
                <a:lnTo>
                  <a:pt x="456" y="104"/>
                </a:lnTo>
                <a:lnTo>
                  <a:pt x="482" y="96"/>
                </a:lnTo>
                <a:lnTo>
                  <a:pt x="508" y="90"/>
                </a:lnTo>
                <a:lnTo>
                  <a:pt x="534" y="86"/>
                </a:lnTo>
                <a:lnTo>
                  <a:pt x="562" y="82"/>
                </a:lnTo>
                <a:lnTo>
                  <a:pt x="588" y="80"/>
                </a:lnTo>
                <a:lnTo>
                  <a:pt x="616" y="80"/>
                </a:lnTo>
                <a:lnTo>
                  <a:pt x="644" y="80"/>
                </a:lnTo>
                <a:lnTo>
                  <a:pt x="670" y="82"/>
                </a:lnTo>
                <a:lnTo>
                  <a:pt x="698" y="86"/>
                </a:lnTo>
                <a:lnTo>
                  <a:pt x="724" y="90"/>
                </a:lnTo>
                <a:lnTo>
                  <a:pt x="750" y="96"/>
                </a:lnTo>
                <a:lnTo>
                  <a:pt x="776" y="104"/>
                </a:lnTo>
                <a:lnTo>
                  <a:pt x="800" y="112"/>
                </a:lnTo>
                <a:lnTo>
                  <a:pt x="824" y="122"/>
                </a:lnTo>
                <a:lnTo>
                  <a:pt x="848" y="132"/>
                </a:lnTo>
                <a:lnTo>
                  <a:pt x="872" y="144"/>
                </a:lnTo>
                <a:lnTo>
                  <a:pt x="894" y="158"/>
                </a:lnTo>
                <a:lnTo>
                  <a:pt x="916" y="172"/>
                </a:lnTo>
                <a:lnTo>
                  <a:pt x="936" y="186"/>
                </a:lnTo>
                <a:lnTo>
                  <a:pt x="956" y="202"/>
                </a:lnTo>
                <a:lnTo>
                  <a:pt x="976" y="220"/>
                </a:lnTo>
                <a:lnTo>
                  <a:pt x="994" y="238"/>
                </a:lnTo>
                <a:lnTo>
                  <a:pt x="1012" y="256"/>
                </a:lnTo>
                <a:lnTo>
                  <a:pt x="1030" y="276"/>
                </a:lnTo>
                <a:lnTo>
                  <a:pt x="1046" y="296"/>
                </a:lnTo>
                <a:lnTo>
                  <a:pt x="1060" y="316"/>
                </a:lnTo>
                <a:lnTo>
                  <a:pt x="1074" y="338"/>
                </a:lnTo>
                <a:lnTo>
                  <a:pt x="1088" y="360"/>
                </a:lnTo>
                <a:lnTo>
                  <a:pt x="1100" y="384"/>
                </a:lnTo>
                <a:lnTo>
                  <a:pt x="1110" y="408"/>
                </a:lnTo>
                <a:lnTo>
                  <a:pt x="1120" y="432"/>
                </a:lnTo>
                <a:lnTo>
                  <a:pt x="1128" y="456"/>
                </a:lnTo>
                <a:lnTo>
                  <a:pt x="1136" y="482"/>
                </a:lnTo>
                <a:lnTo>
                  <a:pt x="1142" y="508"/>
                </a:lnTo>
                <a:lnTo>
                  <a:pt x="1146" y="534"/>
                </a:lnTo>
                <a:lnTo>
                  <a:pt x="1150" y="562"/>
                </a:lnTo>
                <a:lnTo>
                  <a:pt x="1152" y="588"/>
                </a:lnTo>
                <a:lnTo>
                  <a:pt x="1152" y="616"/>
                </a:lnTo>
                <a:lnTo>
                  <a:pt x="1152" y="644"/>
                </a:lnTo>
                <a:lnTo>
                  <a:pt x="1150" y="670"/>
                </a:lnTo>
                <a:lnTo>
                  <a:pt x="1146" y="698"/>
                </a:lnTo>
                <a:lnTo>
                  <a:pt x="1142" y="724"/>
                </a:lnTo>
                <a:lnTo>
                  <a:pt x="1136" y="750"/>
                </a:lnTo>
                <a:lnTo>
                  <a:pt x="1128" y="776"/>
                </a:lnTo>
                <a:lnTo>
                  <a:pt x="1120" y="800"/>
                </a:lnTo>
                <a:lnTo>
                  <a:pt x="1110" y="824"/>
                </a:lnTo>
                <a:lnTo>
                  <a:pt x="1100" y="848"/>
                </a:lnTo>
                <a:lnTo>
                  <a:pt x="1088" y="872"/>
                </a:lnTo>
                <a:lnTo>
                  <a:pt x="1074" y="894"/>
                </a:lnTo>
                <a:lnTo>
                  <a:pt x="1060" y="916"/>
                </a:lnTo>
                <a:lnTo>
                  <a:pt x="1046" y="936"/>
                </a:lnTo>
                <a:lnTo>
                  <a:pt x="1030" y="956"/>
                </a:lnTo>
                <a:lnTo>
                  <a:pt x="1012" y="976"/>
                </a:lnTo>
                <a:lnTo>
                  <a:pt x="994" y="994"/>
                </a:lnTo>
                <a:lnTo>
                  <a:pt x="976" y="1012"/>
                </a:lnTo>
                <a:lnTo>
                  <a:pt x="956" y="1030"/>
                </a:lnTo>
                <a:lnTo>
                  <a:pt x="936" y="1046"/>
                </a:lnTo>
                <a:lnTo>
                  <a:pt x="916" y="1060"/>
                </a:lnTo>
                <a:lnTo>
                  <a:pt x="894" y="1074"/>
                </a:lnTo>
                <a:lnTo>
                  <a:pt x="872" y="1088"/>
                </a:lnTo>
                <a:lnTo>
                  <a:pt x="848" y="1100"/>
                </a:lnTo>
                <a:lnTo>
                  <a:pt x="824" y="1110"/>
                </a:lnTo>
                <a:lnTo>
                  <a:pt x="800" y="1120"/>
                </a:lnTo>
                <a:lnTo>
                  <a:pt x="776" y="1128"/>
                </a:lnTo>
                <a:lnTo>
                  <a:pt x="750" y="1136"/>
                </a:lnTo>
                <a:lnTo>
                  <a:pt x="724" y="1142"/>
                </a:lnTo>
                <a:lnTo>
                  <a:pt x="698" y="1146"/>
                </a:lnTo>
                <a:lnTo>
                  <a:pt x="670" y="1150"/>
                </a:lnTo>
                <a:lnTo>
                  <a:pt x="644" y="1152"/>
                </a:lnTo>
                <a:lnTo>
                  <a:pt x="616" y="1152"/>
                </a:lnTo>
                <a:lnTo>
                  <a:pt x="588" y="1152"/>
                </a:lnTo>
                <a:lnTo>
                  <a:pt x="562" y="1150"/>
                </a:lnTo>
                <a:lnTo>
                  <a:pt x="534" y="1146"/>
                </a:lnTo>
                <a:lnTo>
                  <a:pt x="508" y="1142"/>
                </a:lnTo>
                <a:lnTo>
                  <a:pt x="482" y="1136"/>
                </a:lnTo>
                <a:lnTo>
                  <a:pt x="456" y="1128"/>
                </a:lnTo>
                <a:lnTo>
                  <a:pt x="432" y="1120"/>
                </a:lnTo>
                <a:lnTo>
                  <a:pt x="408" y="1110"/>
                </a:lnTo>
                <a:lnTo>
                  <a:pt x="384" y="1100"/>
                </a:lnTo>
                <a:lnTo>
                  <a:pt x="360" y="1088"/>
                </a:lnTo>
                <a:lnTo>
                  <a:pt x="338" y="1074"/>
                </a:lnTo>
                <a:lnTo>
                  <a:pt x="316" y="1060"/>
                </a:lnTo>
                <a:lnTo>
                  <a:pt x="296" y="1046"/>
                </a:lnTo>
                <a:lnTo>
                  <a:pt x="276" y="1030"/>
                </a:lnTo>
                <a:lnTo>
                  <a:pt x="256" y="1012"/>
                </a:lnTo>
                <a:lnTo>
                  <a:pt x="238" y="994"/>
                </a:lnTo>
                <a:lnTo>
                  <a:pt x="220" y="976"/>
                </a:lnTo>
                <a:lnTo>
                  <a:pt x="202" y="956"/>
                </a:lnTo>
                <a:lnTo>
                  <a:pt x="186" y="936"/>
                </a:lnTo>
                <a:lnTo>
                  <a:pt x="172" y="916"/>
                </a:lnTo>
                <a:lnTo>
                  <a:pt x="158" y="894"/>
                </a:lnTo>
                <a:lnTo>
                  <a:pt x="144" y="872"/>
                </a:lnTo>
                <a:lnTo>
                  <a:pt x="132" y="848"/>
                </a:lnTo>
                <a:lnTo>
                  <a:pt x="122" y="824"/>
                </a:lnTo>
                <a:lnTo>
                  <a:pt x="112" y="800"/>
                </a:lnTo>
                <a:lnTo>
                  <a:pt x="104" y="776"/>
                </a:lnTo>
                <a:lnTo>
                  <a:pt x="96" y="750"/>
                </a:lnTo>
                <a:lnTo>
                  <a:pt x="90" y="724"/>
                </a:lnTo>
                <a:lnTo>
                  <a:pt x="86" y="698"/>
                </a:lnTo>
                <a:lnTo>
                  <a:pt x="82" y="670"/>
                </a:lnTo>
                <a:lnTo>
                  <a:pt x="80" y="644"/>
                </a:lnTo>
                <a:lnTo>
                  <a:pt x="80" y="616"/>
                </a:lnTo>
                <a:close/>
              </a:path>
            </a:pathLst>
          </a:custGeom>
          <a:solidFill>
            <a:srgbClr val="654E25">
              <a:alpha val="1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" name="AutoShape 12"/>
          <p:cNvSpPr>
            <a:spLocks noChangeArrowheads="1"/>
          </p:cNvSpPr>
          <p:nvPr/>
        </p:nvSpPr>
        <p:spPr bwMode="auto">
          <a:xfrm>
            <a:off x="2000250" y="2524125"/>
            <a:ext cx="6138863" cy="371475"/>
          </a:xfrm>
          <a:prstGeom prst="rightArrow">
            <a:avLst>
              <a:gd name="adj1" fmla="val 38231"/>
              <a:gd name="adj2" fmla="val 63884"/>
            </a:avLst>
          </a:prstGeom>
          <a:solidFill>
            <a:srgbClr val="F7AD00"/>
          </a:solidFill>
          <a:ln>
            <a:solidFill>
              <a:schemeClr val="bg1"/>
            </a:solidFill>
          </a:ln>
          <a:effectLst>
            <a:outerShdw blurRad="50800" dist="12700" dir="2700000" algn="ctr" rotWithShape="0">
              <a:schemeClr val="tx1">
                <a:alpha val="40000"/>
              </a:scheme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8" name="Oval 12"/>
          <p:cNvSpPr>
            <a:spLocks noChangeArrowheads="1"/>
          </p:cNvSpPr>
          <p:nvPr/>
        </p:nvSpPr>
        <p:spPr bwMode="auto">
          <a:xfrm>
            <a:off x="5510213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9" name="Oval 12"/>
          <p:cNvSpPr>
            <a:spLocks noChangeArrowheads="1"/>
          </p:cNvSpPr>
          <p:nvPr/>
        </p:nvSpPr>
        <p:spPr bwMode="auto">
          <a:xfrm>
            <a:off x="4303713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0" name="Oval 12"/>
          <p:cNvSpPr>
            <a:spLocks noChangeArrowheads="1"/>
          </p:cNvSpPr>
          <p:nvPr/>
        </p:nvSpPr>
        <p:spPr bwMode="auto">
          <a:xfrm>
            <a:off x="3094038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1" name="Oval 12"/>
          <p:cNvSpPr>
            <a:spLocks noChangeArrowheads="1"/>
          </p:cNvSpPr>
          <p:nvPr/>
        </p:nvSpPr>
        <p:spPr bwMode="auto">
          <a:xfrm>
            <a:off x="1881188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6729413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grpSp>
        <p:nvGrpSpPr>
          <p:cNvPr id="13" name="组合 49"/>
          <p:cNvGrpSpPr/>
          <p:nvPr/>
        </p:nvGrpSpPr>
        <p:grpSpPr bwMode="auto">
          <a:xfrm rot="-2567244">
            <a:off x="3192463" y="1241425"/>
            <a:ext cx="1439862" cy="1012825"/>
            <a:chOff x="1834236" y="1192007"/>
            <a:chExt cx="1440948" cy="1014117"/>
          </a:xfrm>
        </p:grpSpPr>
        <p:sp>
          <p:nvSpPr>
            <p:cNvPr id="14" name="TextBox 146"/>
            <p:cNvSpPr txBox="1">
              <a:spLocks noChangeArrowheads="1"/>
            </p:cNvSpPr>
            <p:nvPr/>
          </p:nvSpPr>
          <p:spPr bwMode="auto">
            <a:xfrm>
              <a:off x="1834236" y="1192007"/>
              <a:ext cx="1440948" cy="33864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15" name="TextBox 146"/>
            <p:cNvSpPr txBox="1">
              <a:spLocks noChangeArrowheads="1"/>
            </p:cNvSpPr>
            <p:nvPr/>
          </p:nvSpPr>
          <p:spPr bwMode="auto">
            <a:xfrm>
              <a:off x="1857689" y="1464686"/>
              <a:ext cx="1412352" cy="739129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" name="组合 52"/>
          <p:cNvGrpSpPr/>
          <p:nvPr/>
        </p:nvGrpSpPr>
        <p:grpSpPr bwMode="auto">
          <a:xfrm rot="2615929">
            <a:off x="6413500" y="3124200"/>
            <a:ext cx="1476375" cy="1254125"/>
            <a:chOff x="6829434" y="4751152"/>
            <a:chExt cx="1476839" cy="1254851"/>
          </a:xfrm>
        </p:grpSpPr>
        <p:sp>
          <p:nvSpPr>
            <p:cNvPr id="17" name="TextBox 146"/>
            <p:cNvSpPr txBox="1">
              <a:spLocks noChangeArrowheads="1"/>
            </p:cNvSpPr>
            <p:nvPr/>
          </p:nvSpPr>
          <p:spPr bwMode="auto">
            <a:xfrm>
              <a:off x="6848597" y="4751152"/>
              <a:ext cx="1440948" cy="33858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18" name="TextBox 146"/>
            <p:cNvSpPr txBox="1">
              <a:spLocks noChangeArrowheads="1"/>
            </p:cNvSpPr>
            <p:nvPr/>
          </p:nvSpPr>
          <p:spPr bwMode="auto">
            <a:xfrm>
              <a:off x="6816172" y="5053170"/>
              <a:ext cx="1476839" cy="954640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" name="组合 53"/>
          <p:cNvGrpSpPr/>
          <p:nvPr/>
        </p:nvGrpSpPr>
        <p:grpSpPr bwMode="auto">
          <a:xfrm rot="2517029">
            <a:off x="4103688" y="3179763"/>
            <a:ext cx="1441450" cy="1001712"/>
            <a:chOff x="1851759" y="1239259"/>
            <a:chExt cx="1440948" cy="1002215"/>
          </a:xfrm>
        </p:grpSpPr>
        <p:sp>
          <p:nvSpPr>
            <p:cNvPr id="20" name="TextBox 146"/>
            <p:cNvSpPr txBox="1">
              <a:spLocks noChangeArrowheads="1"/>
            </p:cNvSpPr>
            <p:nvPr/>
          </p:nvSpPr>
          <p:spPr bwMode="auto">
            <a:xfrm>
              <a:off x="1851759" y="1239259"/>
              <a:ext cx="1440948" cy="33864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21" name="TextBox 146"/>
            <p:cNvSpPr txBox="1">
              <a:spLocks noChangeArrowheads="1"/>
            </p:cNvSpPr>
            <p:nvPr/>
          </p:nvSpPr>
          <p:spPr bwMode="auto">
            <a:xfrm>
              <a:off x="1847927" y="1500769"/>
              <a:ext cx="1250514" cy="738558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2" name="组合 56"/>
          <p:cNvGrpSpPr/>
          <p:nvPr/>
        </p:nvGrpSpPr>
        <p:grpSpPr bwMode="auto">
          <a:xfrm rot="2517029">
            <a:off x="1708150" y="3127375"/>
            <a:ext cx="1465263" cy="1027113"/>
            <a:chOff x="1855063" y="1215073"/>
            <a:chExt cx="1464837" cy="1026402"/>
          </a:xfrm>
        </p:grpSpPr>
        <p:sp>
          <p:nvSpPr>
            <p:cNvPr id="23" name="TextBox 146"/>
            <p:cNvSpPr txBox="1">
              <a:spLocks noChangeArrowheads="1"/>
            </p:cNvSpPr>
            <p:nvPr/>
          </p:nvSpPr>
          <p:spPr bwMode="auto">
            <a:xfrm>
              <a:off x="1878952" y="1215073"/>
              <a:ext cx="1440948" cy="33812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24" name="TextBox 146"/>
            <p:cNvSpPr txBox="1">
              <a:spLocks noChangeArrowheads="1"/>
            </p:cNvSpPr>
            <p:nvPr/>
          </p:nvSpPr>
          <p:spPr bwMode="auto">
            <a:xfrm>
              <a:off x="1853512" y="1500014"/>
              <a:ext cx="1250586" cy="739263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" name="组合 49"/>
          <p:cNvGrpSpPr/>
          <p:nvPr/>
        </p:nvGrpSpPr>
        <p:grpSpPr bwMode="auto">
          <a:xfrm rot="-2567244">
            <a:off x="5391150" y="1227138"/>
            <a:ext cx="1439863" cy="1022350"/>
            <a:chOff x="1842524" y="1183056"/>
            <a:chExt cx="1440948" cy="1023068"/>
          </a:xfrm>
        </p:grpSpPr>
        <p:sp>
          <p:nvSpPr>
            <p:cNvPr id="26" name="TextBox 146"/>
            <p:cNvSpPr txBox="1">
              <a:spLocks noChangeArrowheads="1"/>
            </p:cNvSpPr>
            <p:nvPr/>
          </p:nvSpPr>
          <p:spPr bwMode="auto">
            <a:xfrm>
              <a:off x="1842524" y="1183056"/>
              <a:ext cx="1440948" cy="33864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27" name="TextBox 146"/>
            <p:cNvSpPr txBox="1">
              <a:spLocks noChangeArrowheads="1"/>
            </p:cNvSpPr>
            <p:nvPr/>
          </p:nvSpPr>
          <p:spPr bwMode="auto">
            <a:xfrm>
              <a:off x="1857257" y="1467426"/>
              <a:ext cx="1412351" cy="738706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28" name="图片 2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5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75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3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14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5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4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25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9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2" presetClass="entr" presetSubtype="4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25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3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2" presetClass="entr" presetSubtype="1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25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7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2" presetClass="entr" presetSubtype="1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25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2" presetClass="entr" presetSubtype="1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25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5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82562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15"/>
          <p:cNvCxnSpPr>
            <a:cxnSpLocks noChangeShapeType="1"/>
          </p:cNvCxnSpPr>
          <p:nvPr/>
        </p:nvCxnSpPr>
        <p:spPr bwMode="auto">
          <a:xfrm rot="5400000">
            <a:off x="3792537" y="3230563"/>
            <a:ext cx="3351213" cy="1588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cxnSp>
        <p:nvCxnSpPr>
          <p:cNvPr id="4" name="直接连接符 15"/>
          <p:cNvCxnSpPr>
            <a:cxnSpLocks noChangeShapeType="1"/>
          </p:cNvCxnSpPr>
          <p:nvPr/>
        </p:nvCxnSpPr>
        <p:spPr bwMode="auto">
          <a:xfrm rot="5400000">
            <a:off x="5778500" y="3230563"/>
            <a:ext cx="3351213" cy="1587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cxnSp>
        <p:nvCxnSpPr>
          <p:cNvPr id="5" name="直接连接符 15"/>
          <p:cNvCxnSpPr>
            <a:cxnSpLocks noChangeShapeType="1"/>
          </p:cNvCxnSpPr>
          <p:nvPr/>
        </p:nvCxnSpPr>
        <p:spPr bwMode="auto">
          <a:xfrm rot="5400000">
            <a:off x="1940718" y="3231357"/>
            <a:ext cx="3351213" cy="0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grpSp>
        <p:nvGrpSpPr>
          <p:cNvPr id="6" name="组合 5"/>
          <p:cNvGrpSpPr/>
          <p:nvPr/>
        </p:nvGrpSpPr>
        <p:grpSpPr bwMode="auto">
          <a:xfrm>
            <a:off x="1804988" y="1628775"/>
            <a:ext cx="1811337" cy="3071813"/>
            <a:chOff x="902814" y="1314926"/>
            <a:chExt cx="1811337" cy="3070886"/>
          </a:xfrm>
        </p:grpSpPr>
        <p:sp>
          <p:nvSpPr>
            <p:cNvPr id="21536" name="TextBox 7"/>
            <p:cNvSpPr txBox="1">
              <a:spLocks noChangeArrowheads="1"/>
            </p:cNvSpPr>
            <p:nvPr/>
          </p:nvSpPr>
          <p:spPr bwMode="auto">
            <a:xfrm>
              <a:off x="902814" y="1314926"/>
              <a:ext cx="18113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860076" y="2125894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1538" name="组合 9"/>
            <p:cNvGrpSpPr/>
            <p:nvPr/>
          </p:nvGrpSpPr>
          <p:grpSpPr bwMode="auto">
            <a:xfrm>
              <a:off x="1445739" y="2383256"/>
              <a:ext cx="1069975" cy="2002556"/>
              <a:chOff x="1445739" y="2383256"/>
              <a:chExt cx="1069975" cy="2002556"/>
            </a:xfrm>
          </p:grpSpPr>
          <p:sp>
            <p:nvSpPr>
              <p:cNvPr id="10" name="矩形 9"/>
              <p:cNvSpPr/>
              <p:nvPr/>
            </p:nvSpPr>
            <p:spPr bwMode="auto">
              <a:xfrm>
                <a:off x="2162963" y="2383256"/>
                <a:ext cx="159569" cy="1690988"/>
              </a:xfrm>
              <a:prstGeom prst="rect">
                <a:avLst/>
              </a:prstGeom>
              <a:solidFill>
                <a:srgbClr val="F7AD00"/>
              </a:solidFill>
              <a:ln w="12700">
                <a:solidFill>
                  <a:schemeClr val="bg1"/>
                </a:solidFill>
              </a:ln>
              <a:effectLst>
                <a:outerShdw blurRad="50800" dist="12700" dir="5400000" sy="23000" kx="1200000" algn="b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sp3d>
                <a:contourClr>
                  <a:srgbClr val="AFEAFF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" name="Rectangle 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540989" y="4108083"/>
                <a:ext cx="536575" cy="277729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0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</a:t>
                </a: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" name="Rectangle 7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979139" y="4108083"/>
                <a:ext cx="536575" cy="277729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</a:t>
                </a: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" name="Rectangle 7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445739" y="2429015"/>
                <a:ext cx="735012" cy="27614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文本</a:t>
                </a: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" name="矩形 13"/>
              <p:cNvSpPr/>
              <p:nvPr/>
            </p:nvSpPr>
            <p:spPr bwMode="auto">
              <a:xfrm>
                <a:off x="1741365" y="2699938"/>
                <a:ext cx="159569" cy="13743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>
                <a:solidFill>
                  <a:schemeClr val="bg1"/>
                </a:solidFill>
              </a:ln>
              <a:effectLst>
                <a:outerShdw blurRad="50800" dist="12700" dir="5400000" sy="23000" kx="1200000" algn="b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sp3d>
                <a:contourClr>
                  <a:srgbClr val="89FF8C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5" name="组合 14"/>
          <p:cNvGrpSpPr/>
          <p:nvPr/>
        </p:nvGrpSpPr>
        <p:grpSpPr bwMode="auto">
          <a:xfrm>
            <a:off x="3636963" y="1628775"/>
            <a:ext cx="1809750" cy="3071813"/>
            <a:chOff x="2735539" y="1314926"/>
            <a:chExt cx="1809750" cy="3070886"/>
          </a:xfrm>
        </p:grpSpPr>
        <p:sp>
          <p:nvSpPr>
            <p:cNvPr id="16" name="矩形 15"/>
            <p:cNvSpPr/>
            <p:nvPr/>
          </p:nvSpPr>
          <p:spPr bwMode="auto">
            <a:xfrm>
              <a:off x="3809709" y="2383256"/>
              <a:ext cx="159569" cy="1690988"/>
            </a:xfrm>
            <a:prstGeom prst="rect">
              <a:avLst/>
            </a:prstGeom>
            <a:solidFill>
              <a:srgbClr val="F7AD00"/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87976" y="4108083"/>
              <a:ext cx="536575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626126" y="4108083"/>
              <a:ext cx="534988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2" name="TextBox 43"/>
            <p:cNvSpPr txBox="1">
              <a:spLocks noChangeArrowheads="1"/>
            </p:cNvSpPr>
            <p:nvPr/>
          </p:nvSpPr>
          <p:spPr bwMode="auto">
            <a:xfrm>
              <a:off x="2735539" y="1314926"/>
              <a:ext cx="18097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03839" y="2440124"/>
              <a:ext cx="733425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Rectangle 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516589" y="213700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矩形 21"/>
            <p:cNvSpPr/>
            <p:nvPr/>
          </p:nvSpPr>
          <p:spPr bwMode="auto">
            <a:xfrm>
              <a:off x="3388477" y="2699938"/>
              <a:ext cx="159569" cy="13743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 bwMode="auto">
          <a:xfrm>
            <a:off x="5510213" y="1628775"/>
            <a:ext cx="1809750" cy="3071813"/>
            <a:chOff x="4607771" y="1314926"/>
            <a:chExt cx="1809750" cy="3070886"/>
          </a:xfrm>
        </p:grpSpPr>
        <p:sp>
          <p:nvSpPr>
            <p:cNvPr id="24" name="矩形 23"/>
            <p:cNvSpPr/>
            <p:nvPr/>
          </p:nvSpPr>
          <p:spPr bwMode="auto">
            <a:xfrm>
              <a:off x="5779978" y="1962421"/>
              <a:ext cx="159569" cy="2111823"/>
            </a:xfrm>
            <a:prstGeom prst="rect">
              <a:avLst/>
            </a:prstGeom>
            <a:solidFill>
              <a:srgbClr val="F7AD00"/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158633" y="4108083"/>
              <a:ext cx="536575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Rectangle 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596783" y="4108083"/>
              <a:ext cx="534988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5" name="TextBox 43"/>
            <p:cNvSpPr txBox="1">
              <a:spLocks noChangeArrowheads="1"/>
            </p:cNvSpPr>
            <p:nvPr/>
          </p:nvSpPr>
          <p:spPr bwMode="auto">
            <a:xfrm>
              <a:off x="4607771" y="1314926"/>
              <a:ext cx="18097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068146" y="1851339"/>
              <a:ext cx="735012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Rectangle 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482483" y="170533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矩形 29"/>
            <p:cNvSpPr/>
            <p:nvPr/>
          </p:nvSpPr>
          <p:spPr bwMode="auto">
            <a:xfrm>
              <a:off x="5358746" y="2114430"/>
              <a:ext cx="159569" cy="195981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1" name="组合 30"/>
          <p:cNvGrpSpPr/>
          <p:nvPr/>
        </p:nvGrpSpPr>
        <p:grpSpPr bwMode="auto">
          <a:xfrm>
            <a:off x="7443788" y="1628775"/>
            <a:ext cx="1811337" cy="3071813"/>
            <a:chOff x="6541649" y="1314926"/>
            <a:chExt cx="1811337" cy="3070886"/>
          </a:xfrm>
        </p:grpSpPr>
        <p:sp>
          <p:nvSpPr>
            <p:cNvPr id="32" name="矩形 31"/>
            <p:cNvSpPr/>
            <p:nvPr/>
          </p:nvSpPr>
          <p:spPr bwMode="auto">
            <a:xfrm>
              <a:off x="7601113" y="2642231"/>
              <a:ext cx="159569" cy="1432013"/>
            </a:xfrm>
            <a:prstGeom prst="rect">
              <a:avLst/>
            </a:prstGeom>
            <a:solidFill>
              <a:srgbClr val="F7AD00"/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Rectangle 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979799" y="4108083"/>
              <a:ext cx="534987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Rectangle 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417949" y="4108083"/>
              <a:ext cx="534987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18" name="TextBox 43"/>
            <p:cNvSpPr txBox="1">
              <a:spLocks noChangeArrowheads="1"/>
            </p:cNvSpPr>
            <p:nvPr/>
          </p:nvSpPr>
          <p:spPr bwMode="auto">
            <a:xfrm>
              <a:off x="6541649" y="1314926"/>
              <a:ext cx="18113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Rectangle 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889311" y="2608349"/>
              <a:ext cx="733425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Rectangle 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7302061" y="2368708"/>
              <a:ext cx="735013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矩形 37"/>
            <p:cNvSpPr/>
            <p:nvPr/>
          </p:nvSpPr>
          <p:spPr bwMode="auto">
            <a:xfrm>
              <a:off x="7179881" y="2881503"/>
              <a:ext cx="159569" cy="119274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39" name="图片 3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50" tmFilter="0, 0; .2, .5; .8, .5; 1, 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75" autoRev="1" fill="hold"/>
                                        <p:tgtEl>
                                          <p:spTgt spid="3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6" presetClass="entr" presetSubtype="2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7" dur="3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6" presetClass="entr" presetSubtype="2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20" dur="3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23" dur="3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82562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5" descr="Bild11"/>
          <p:cNvSpPr>
            <a:spLocks noChangeArrowheads="1"/>
          </p:cNvSpPr>
          <p:nvPr/>
        </p:nvSpPr>
        <p:spPr bwMode="gray">
          <a:xfrm>
            <a:off x="4278313" y="1444625"/>
            <a:ext cx="4876800" cy="2546350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 w="12700">
            <a:solidFill>
              <a:srgbClr val="DDDDDD"/>
            </a:solidFill>
            <a:miter lim="800000"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 anchor="ctr"/>
          <a:lstStyle/>
          <a:p>
            <a:pPr marL="190500" indent="-190500"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noProof="1">
                <a:latin typeface="Arial" panose="020B0604020202020204" pitchFamily="34" charset="0"/>
                <a:ea typeface="+mn-ea"/>
              </a:rPr>
              <a:t>Bild</a:t>
            </a:r>
            <a:endParaRPr lang="de-DE" noProof="1">
              <a:latin typeface="Arial" panose="020B0604020202020204" pitchFamily="34" charset="0"/>
              <a:ea typeface="+mn-ea"/>
            </a:endParaRPr>
          </a:p>
          <a:p>
            <a:pPr marL="190500" indent="-190500" eaLnBrk="1" fontAlgn="auto" hangingPunct="1">
              <a:lnSpc>
                <a:spcPct val="95000"/>
              </a:lnSpc>
              <a:spcBef>
                <a:spcPts val="0"/>
              </a:spcBef>
              <a:spcAft>
                <a:spcPct val="40000"/>
              </a:spcAft>
              <a:buClr>
                <a:srgbClr val="292929"/>
              </a:buClr>
              <a:buFont typeface="Wingdings" panose="05000000000000000000" pitchFamily="2" charset="2"/>
              <a:buNone/>
              <a:defRPr/>
            </a:pPr>
            <a:endParaRPr lang="de-DE" noProof="1">
              <a:latin typeface="Arial" panose="020B0604020202020204" pitchFamily="34" charset="0"/>
              <a:ea typeface="+mn-ea"/>
            </a:endParaRPr>
          </a:p>
        </p:txBody>
      </p:sp>
      <p:sp>
        <p:nvSpPr>
          <p:cNvPr id="4" name="矩形​​ 2"/>
          <p:cNvSpPr/>
          <p:nvPr/>
        </p:nvSpPr>
        <p:spPr bwMode="auto">
          <a:xfrm>
            <a:off x="1728788" y="2449513"/>
            <a:ext cx="2447925" cy="164306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坚持精益求精、拒绝平庸的做事精神，帮助您实现美观、精致、严谨、动感的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en-US" altLang="zh-CN" sz="1200" spc="-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3"/>
          <p:cNvSpPr>
            <a:spLocks noChangeArrowheads="1"/>
          </p:cNvSpPr>
          <p:nvPr/>
        </p:nvSpPr>
        <p:spPr bwMode="auto">
          <a:xfrm>
            <a:off x="1736725" y="4100513"/>
            <a:ext cx="7345363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RAPIDPPT, the leader of professional PPT designer in China. </a:t>
            </a:r>
            <a:endParaRPr lang="en-US" altLang="zh-CN" sz="12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5years of making professional PPT, 500 case studies for the classical PPT, make sure you will be satisfied. ……RAPIDPPT differs from the traditional production model, and create a new PPT experience.</a:t>
            </a:r>
            <a:endParaRPr lang="en-US" altLang="zh-CN" sz="1200">
              <a:latin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5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75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4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 bwMode="auto">
          <a:xfrm>
            <a:off x="1211263" y="1589088"/>
            <a:ext cx="3319462" cy="3336925"/>
            <a:chOff x="1211580" y="1588772"/>
            <a:chExt cx="3319272" cy="3337560"/>
          </a:xfrm>
        </p:grpSpPr>
        <p:grpSp>
          <p:nvGrpSpPr>
            <p:cNvPr id="23578" name="组合 8"/>
            <p:cNvGrpSpPr/>
            <p:nvPr/>
          </p:nvGrpSpPr>
          <p:grpSpPr bwMode="auto">
            <a:xfrm>
              <a:off x="1211580" y="1588772"/>
              <a:ext cx="1618488" cy="1618488"/>
              <a:chOff x="1211580" y="1588772"/>
              <a:chExt cx="1618488" cy="1618488"/>
            </a:xfrm>
          </p:grpSpPr>
          <p:sp>
            <p:nvSpPr>
              <p:cNvPr id="16" name="椭圆 15"/>
              <p:cNvSpPr/>
              <p:nvPr/>
            </p:nvSpPr>
            <p:spPr>
              <a:xfrm>
                <a:off x="1211580" y="1588772"/>
                <a:ext cx="1619157" cy="1617970"/>
              </a:xfrm>
              <a:prstGeom prst="ellipse">
                <a:avLst/>
              </a:prstGeom>
              <a:gradFill>
                <a:gsLst>
                  <a:gs pos="0">
                    <a:srgbClr val="F49100"/>
                  </a:gs>
                  <a:gs pos="100000">
                    <a:srgbClr val="F7AD00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/>
              </a:p>
            </p:txBody>
          </p:sp>
          <p:sp>
            <p:nvSpPr>
              <p:cNvPr id="23589" name="TextBox 26"/>
              <p:cNvSpPr txBox="1">
                <a:spLocks noChangeArrowheads="1"/>
              </p:cNvSpPr>
              <p:nvPr/>
            </p:nvSpPr>
            <p:spPr bwMode="auto">
              <a:xfrm>
                <a:off x="1518123" y="1613186"/>
                <a:ext cx="1005403" cy="1569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en-US" altLang="zh-CN" sz="9600">
                    <a:latin typeface="Arial" panose="020B0604020202020204" pitchFamily="34" charset="0"/>
                    <a:cs typeface="Arial" panose="020B0604020202020204" pitchFamily="34" charset="0"/>
                  </a:rPr>
                  <a:t>B</a:t>
                </a:r>
                <a:endParaRPr lang="zh-CN" altLang="en-US" sz="9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579" name="组合 10"/>
            <p:cNvGrpSpPr/>
            <p:nvPr/>
          </p:nvGrpSpPr>
          <p:grpSpPr bwMode="auto">
            <a:xfrm>
              <a:off x="2912364" y="1588772"/>
              <a:ext cx="1618488" cy="1618488"/>
              <a:chOff x="2912364" y="1588772"/>
              <a:chExt cx="1618488" cy="1618488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2911695" y="1588772"/>
                <a:ext cx="1619157" cy="1617970"/>
              </a:xfrm>
              <a:prstGeom prst="ellipse">
                <a:avLst/>
              </a:prstGeom>
              <a:gradFill>
                <a:gsLst>
                  <a:gs pos="0">
                    <a:srgbClr val="F49100"/>
                  </a:gs>
                  <a:gs pos="100000">
                    <a:srgbClr val="F7AD00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3587" name="TextBox 27"/>
              <p:cNvSpPr txBox="1">
                <a:spLocks noChangeArrowheads="1"/>
              </p:cNvSpPr>
              <p:nvPr/>
            </p:nvSpPr>
            <p:spPr bwMode="auto">
              <a:xfrm>
                <a:off x="3184442" y="1613186"/>
                <a:ext cx="1074333" cy="1569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en-US" altLang="zh-CN" sz="9600">
                    <a:latin typeface="Arial" panose="020B0604020202020204" pitchFamily="34" charset="0"/>
                    <a:cs typeface="Arial" panose="020B0604020202020204" pitchFamily="34" charset="0"/>
                  </a:rPr>
                  <a:t>U</a:t>
                </a:r>
                <a:endParaRPr lang="zh-CN" altLang="en-US" sz="9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580" name="组合 13"/>
            <p:cNvGrpSpPr/>
            <p:nvPr/>
          </p:nvGrpSpPr>
          <p:grpSpPr bwMode="auto">
            <a:xfrm>
              <a:off x="1211580" y="3307844"/>
              <a:ext cx="1618488" cy="1618488"/>
              <a:chOff x="1211580" y="3307844"/>
              <a:chExt cx="1618488" cy="1618488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1211580" y="3308361"/>
                <a:ext cx="1619157" cy="1617971"/>
              </a:xfrm>
              <a:prstGeom prst="ellipse">
                <a:avLst/>
              </a:prstGeom>
              <a:gradFill>
                <a:gsLst>
                  <a:gs pos="0">
                    <a:srgbClr val="F49100"/>
                  </a:gs>
                  <a:gs pos="100000">
                    <a:srgbClr val="F7AD00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3585" name="TextBox 30"/>
              <p:cNvSpPr txBox="1">
                <a:spLocks noChangeArrowheads="1"/>
              </p:cNvSpPr>
              <p:nvPr/>
            </p:nvSpPr>
            <p:spPr bwMode="auto">
              <a:xfrm>
                <a:off x="1483658" y="3332258"/>
                <a:ext cx="1074333" cy="1569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en-US" altLang="zh-CN" sz="9600">
                    <a:latin typeface="Arial" panose="020B0604020202020204" pitchFamily="34" charset="0"/>
                    <a:cs typeface="Arial" panose="020B0604020202020204" pitchFamily="34" charset="0"/>
                  </a:rPr>
                  <a:t>N</a:t>
                </a:r>
                <a:endParaRPr lang="zh-CN" altLang="en-US" sz="9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581" name="组合 14"/>
            <p:cNvGrpSpPr/>
            <p:nvPr/>
          </p:nvGrpSpPr>
          <p:grpSpPr bwMode="auto">
            <a:xfrm>
              <a:off x="2912364" y="3307844"/>
              <a:ext cx="1618488" cy="1618488"/>
              <a:chOff x="2912364" y="3307844"/>
              <a:chExt cx="1618488" cy="1618488"/>
            </a:xfrm>
          </p:grpSpPr>
          <p:sp>
            <p:nvSpPr>
              <p:cNvPr id="10" name="椭圆 9"/>
              <p:cNvSpPr/>
              <p:nvPr/>
            </p:nvSpPr>
            <p:spPr>
              <a:xfrm>
                <a:off x="2911695" y="3308361"/>
                <a:ext cx="1619157" cy="1617971"/>
              </a:xfrm>
              <a:prstGeom prst="ellipse">
                <a:avLst/>
              </a:prstGeom>
              <a:gradFill>
                <a:gsLst>
                  <a:gs pos="0">
                    <a:srgbClr val="F49100"/>
                  </a:gs>
                  <a:gs pos="100000">
                    <a:srgbClr val="F7AD00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3583" name="TextBox 31"/>
              <p:cNvSpPr txBox="1">
                <a:spLocks noChangeArrowheads="1"/>
              </p:cNvSpPr>
              <p:nvPr/>
            </p:nvSpPr>
            <p:spPr bwMode="auto">
              <a:xfrm>
                <a:off x="3218907" y="3332258"/>
                <a:ext cx="1005403" cy="1569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en-US" altLang="zh-CN" sz="9600">
                    <a:latin typeface="Arial" panose="020B0604020202020204" pitchFamily="34" charset="0"/>
                    <a:cs typeface="Arial" panose="020B0604020202020204" pitchFamily="34" charset="0"/>
                  </a:rPr>
                  <a:t>E</a:t>
                </a:r>
                <a:endParaRPr lang="zh-CN" altLang="en-US" sz="9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8" name="组合 17"/>
          <p:cNvGrpSpPr/>
          <p:nvPr/>
        </p:nvGrpSpPr>
        <p:grpSpPr bwMode="auto">
          <a:xfrm>
            <a:off x="4613275" y="1589088"/>
            <a:ext cx="3319463" cy="3336925"/>
            <a:chOff x="4613148" y="1588772"/>
            <a:chExt cx="3319272" cy="3337560"/>
          </a:xfrm>
        </p:grpSpPr>
        <p:grpSp>
          <p:nvGrpSpPr>
            <p:cNvPr id="23566" name="组合 11"/>
            <p:cNvGrpSpPr/>
            <p:nvPr/>
          </p:nvGrpSpPr>
          <p:grpSpPr bwMode="auto">
            <a:xfrm>
              <a:off x="4613148" y="1588772"/>
              <a:ext cx="1618488" cy="1618488"/>
              <a:chOff x="4613148" y="1588772"/>
              <a:chExt cx="1618488" cy="1618488"/>
            </a:xfrm>
          </p:grpSpPr>
          <p:sp>
            <p:nvSpPr>
              <p:cNvPr id="29" name="椭圆 28"/>
              <p:cNvSpPr/>
              <p:nvPr/>
            </p:nvSpPr>
            <p:spPr>
              <a:xfrm>
                <a:off x="4613148" y="1588772"/>
                <a:ext cx="1619157" cy="1617970"/>
              </a:xfrm>
              <a:prstGeom prst="ellipse">
                <a:avLst/>
              </a:prstGeom>
              <a:gradFill>
                <a:gsLst>
                  <a:gs pos="0">
                    <a:srgbClr val="F49100"/>
                  </a:gs>
                  <a:gs pos="100000">
                    <a:srgbClr val="F7AD00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3577" name="TextBox 28"/>
              <p:cNvSpPr txBox="1">
                <a:spLocks noChangeArrowheads="1"/>
              </p:cNvSpPr>
              <p:nvPr/>
            </p:nvSpPr>
            <p:spPr bwMode="auto">
              <a:xfrm>
                <a:off x="4885226" y="1613186"/>
                <a:ext cx="1005403" cy="1569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en-US" altLang="zh-CN" sz="9600">
                    <a:latin typeface="Arial" panose="020B0604020202020204" pitchFamily="34" charset="0"/>
                    <a:cs typeface="Arial" panose="020B0604020202020204" pitchFamily="34" charset="0"/>
                  </a:rPr>
                  <a:t>S</a:t>
                </a:r>
                <a:endParaRPr lang="zh-CN" altLang="en-US" sz="9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567" name="组合 12"/>
            <p:cNvGrpSpPr/>
            <p:nvPr/>
          </p:nvGrpSpPr>
          <p:grpSpPr bwMode="auto">
            <a:xfrm>
              <a:off x="6313932" y="1588772"/>
              <a:ext cx="1618488" cy="1618488"/>
              <a:chOff x="6313932" y="1588772"/>
              <a:chExt cx="1618488" cy="1618488"/>
            </a:xfrm>
          </p:grpSpPr>
          <p:sp>
            <p:nvSpPr>
              <p:cNvPr id="27" name="椭圆 26"/>
              <p:cNvSpPr/>
              <p:nvPr/>
            </p:nvSpPr>
            <p:spPr>
              <a:xfrm>
                <a:off x="6313263" y="1588772"/>
                <a:ext cx="1619157" cy="1617970"/>
              </a:xfrm>
              <a:prstGeom prst="ellipse">
                <a:avLst/>
              </a:prstGeom>
              <a:gradFill>
                <a:gsLst>
                  <a:gs pos="0">
                    <a:srgbClr val="F49100"/>
                  </a:gs>
                  <a:gs pos="100000">
                    <a:srgbClr val="F7AD00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3575" name="TextBox 29"/>
              <p:cNvSpPr txBox="1">
                <a:spLocks noChangeArrowheads="1"/>
              </p:cNvSpPr>
              <p:nvPr/>
            </p:nvSpPr>
            <p:spPr bwMode="auto">
              <a:xfrm>
                <a:off x="6860123" y="1613186"/>
                <a:ext cx="526106" cy="1569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/>
                <a:r>
                  <a:rPr lang="en-US" altLang="zh-CN" sz="9600">
                    <a:latin typeface="Arial" panose="020B0604020202020204" pitchFamily="34" charset="0"/>
                    <a:cs typeface="Arial" panose="020B0604020202020204" pitchFamily="34" charset="0"/>
                  </a:rPr>
                  <a:t>I</a:t>
                </a:r>
                <a:endParaRPr lang="zh-CN" altLang="en-US" sz="9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568" name="组合 15"/>
            <p:cNvGrpSpPr/>
            <p:nvPr/>
          </p:nvGrpSpPr>
          <p:grpSpPr bwMode="auto">
            <a:xfrm>
              <a:off x="4613148" y="3307844"/>
              <a:ext cx="1618488" cy="1618488"/>
              <a:chOff x="4613148" y="3307844"/>
              <a:chExt cx="1618488" cy="1618488"/>
            </a:xfrm>
          </p:grpSpPr>
          <p:sp>
            <p:nvSpPr>
              <p:cNvPr id="25" name="椭圆 24"/>
              <p:cNvSpPr/>
              <p:nvPr/>
            </p:nvSpPr>
            <p:spPr>
              <a:xfrm>
                <a:off x="4613148" y="3308361"/>
                <a:ext cx="1619157" cy="1617971"/>
              </a:xfrm>
              <a:prstGeom prst="ellipse">
                <a:avLst/>
              </a:prstGeom>
              <a:solidFill>
                <a:schemeClr val="bg1">
                  <a:alpha val="23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4919691" y="3332258"/>
                <a:ext cx="1005403" cy="156966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9600" dirty="0">
                    <a:solidFill>
                      <a:schemeClr val="bg1">
                        <a:alpha val="33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</a:t>
                </a:r>
                <a:endParaRPr lang="zh-CN" altLang="en-US" sz="9600" dirty="0">
                  <a:solidFill>
                    <a:schemeClr val="bg1">
                      <a:alpha val="33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569" name="组合 16"/>
            <p:cNvGrpSpPr/>
            <p:nvPr/>
          </p:nvGrpSpPr>
          <p:grpSpPr bwMode="auto">
            <a:xfrm>
              <a:off x="6313932" y="3307844"/>
              <a:ext cx="1618488" cy="1618488"/>
              <a:chOff x="6313932" y="3307844"/>
              <a:chExt cx="1618488" cy="1618488"/>
            </a:xfrm>
          </p:grpSpPr>
          <p:sp>
            <p:nvSpPr>
              <p:cNvPr id="23" name="椭圆 22"/>
              <p:cNvSpPr/>
              <p:nvPr/>
            </p:nvSpPr>
            <p:spPr>
              <a:xfrm>
                <a:off x="6313263" y="3308361"/>
                <a:ext cx="1619157" cy="1617971"/>
              </a:xfrm>
              <a:prstGeom prst="ellipse">
                <a:avLst/>
              </a:prstGeom>
              <a:solidFill>
                <a:schemeClr val="bg1">
                  <a:alpha val="23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6620475" y="3332258"/>
                <a:ext cx="1005403" cy="156966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9600" dirty="0">
                    <a:solidFill>
                      <a:schemeClr val="bg1">
                        <a:alpha val="33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</a:t>
                </a:r>
                <a:endParaRPr lang="zh-CN" altLang="en-US" sz="9600" dirty="0">
                  <a:solidFill>
                    <a:schemeClr val="bg1">
                      <a:alpha val="33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1" name="椭圆 30"/>
          <p:cNvSpPr/>
          <p:nvPr/>
        </p:nvSpPr>
        <p:spPr>
          <a:xfrm>
            <a:off x="3394075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2" name="椭圆 31"/>
          <p:cNvSpPr/>
          <p:nvPr/>
        </p:nvSpPr>
        <p:spPr>
          <a:xfrm>
            <a:off x="3879850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3" name="椭圆 32"/>
          <p:cNvSpPr/>
          <p:nvPr/>
        </p:nvSpPr>
        <p:spPr>
          <a:xfrm>
            <a:off x="4364038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4" name="椭圆 33"/>
          <p:cNvSpPr/>
          <p:nvPr/>
        </p:nvSpPr>
        <p:spPr>
          <a:xfrm>
            <a:off x="4849813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5" name="椭圆 34"/>
          <p:cNvSpPr/>
          <p:nvPr/>
        </p:nvSpPr>
        <p:spPr>
          <a:xfrm>
            <a:off x="5334000" y="3063875"/>
            <a:ext cx="398463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6" name="椭圆 35"/>
          <p:cNvSpPr/>
          <p:nvPr/>
        </p:nvSpPr>
        <p:spPr>
          <a:xfrm>
            <a:off x="5819775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7" name="椭圆 36"/>
          <p:cNvSpPr/>
          <p:nvPr/>
        </p:nvSpPr>
        <p:spPr>
          <a:xfrm>
            <a:off x="2909888" y="3063875"/>
            <a:ext cx="396875" cy="3984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grpSp>
        <p:nvGrpSpPr>
          <p:cNvPr id="38" name="组合 37"/>
          <p:cNvGrpSpPr/>
          <p:nvPr/>
        </p:nvGrpSpPr>
        <p:grpSpPr bwMode="auto">
          <a:xfrm>
            <a:off x="1135063" y="330200"/>
            <a:ext cx="3790950" cy="1069975"/>
            <a:chOff x="1998413" y="520695"/>
            <a:chExt cx="3791537" cy="1069378"/>
          </a:xfrm>
        </p:grpSpPr>
        <p:sp>
          <p:nvSpPr>
            <p:cNvPr id="23564" name="TextBox 22"/>
            <p:cNvSpPr txBox="1">
              <a:spLocks noChangeArrowheads="1"/>
            </p:cNvSpPr>
            <p:nvPr/>
          </p:nvSpPr>
          <p:spPr bwMode="auto">
            <a:xfrm>
              <a:off x="1998413" y="520695"/>
              <a:ext cx="3528864" cy="7690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4400" b="1">
                  <a:solidFill>
                    <a:srgbClr val="F49100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THANK </a:t>
              </a:r>
              <a:r>
                <a:rPr lang="en-US" altLang="zh-CN" sz="44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YOU</a:t>
              </a:r>
              <a:endParaRPr lang="en-US" altLang="zh-CN" sz="4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40" name="矩形 39"/>
            <p:cNvSpPr>
              <a:spLocks noChangeArrowheads="1"/>
            </p:cNvSpPr>
            <p:nvPr/>
          </p:nvSpPr>
          <p:spPr bwMode="auto">
            <a:xfrm>
              <a:off x="4374178" y="1128408"/>
              <a:ext cx="1415772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400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谢谢观看</a:t>
              </a:r>
              <a:endParaRPr lang="zh-CN" altLang="en-US" sz="2400" dirty="0">
                <a:solidFill>
                  <a:schemeClr val="bg1">
                    <a:alpha val="63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3.05556E-6 7.09439E-7 L 0.05503 0.00092 " pathEditMode="relative" rAng="0" ptsTypes="AA">
                                      <p:cBhvr>
                                        <p:cTn id="27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43" y="31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2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3.33333E-6 3.20988E-6 L -0.05364 0.00061 " pathEditMode="relative" rAng="0" ptsTypes="AA">
                                      <p:cBhvr>
                                        <p:cTn id="31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91" y="31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2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1.94444E-6 3.20988E-6 L 0.10452 0.00061 " pathEditMode="relative" rAng="0" ptsTypes="AA">
                                      <p:cBhvr>
                                        <p:cTn id="35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26" y="31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4.72222E-6 3.20988E-6 L -0.10659 0.00061 " pathEditMode="relative" rAng="0" ptsTypes="AA">
                                      <p:cBhvr>
                                        <p:cTn id="39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30" y="31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" presetClass="exit" presetSubtype="0" fill="hold" grpId="2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5.55556E-7 3.20988E-6 L 0.15747 0.00061 " pathEditMode="relative" rAng="0" ptsTypes="AA">
                                      <p:cBhvr>
                                        <p:cTn id="43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65" y="31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" presetClass="exit" presetSubtype="0" fill="hold" grpId="2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77778E-7 3.20988E-6 L -0.16076 0.00154 " pathEditMode="relative" rAng="0" ptsTypes="AA">
                                      <p:cBhvr>
                                        <p:cTn id="47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38" y="6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xit" presetSubtype="0" fill="hold" grpId="2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7" presetClass="emph" presetSubtype="0" repeatCount="3000" fill="remove" grpId="1" nodeType="withEffect">
                                  <p:stCondLst>
                                    <p:cond delay="105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1" dur="100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2" dur="100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3" dur="100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4" dur="100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grpId="2" nodeType="withEffect">
                                  <p:stCondLst>
                                    <p:cond delay="1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23" presetClass="entr" presetSubtype="52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3" presetClass="entr" presetSubtype="52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12" presetClass="entr" presetSubtype="8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1" grpId="1" animBg="1"/>
      <p:bldP spid="31" grpId="2" animBg="1"/>
      <p:bldP spid="32" grpId="0" animBg="1"/>
      <p:bldP spid="32" grpId="1" animBg="1"/>
      <p:bldP spid="32" grpId="2" animBg="1"/>
      <p:bldP spid="33" grpId="0" animBg="1"/>
      <p:bldP spid="33" grpId="1" animBg="1"/>
      <p:bldP spid="33" grpId="2" animBg="1"/>
      <p:bldP spid="34" grpId="0" animBg="1"/>
      <p:bldP spid="34" grpId="1" animBg="1"/>
      <p:bldP spid="34" grpId="2" animBg="1"/>
      <p:bldP spid="35" grpId="0" animBg="1"/>
      <p:bldP spid="35" grpId="1" animBg="1"/>
      <p:bldP spid="35" grpId="2" animBg="1"/>
      <p:bldP spid="36" grpId="0" animBg="1"/>
      <p:bldP spid="36" grpId="1" animBg="1"/>
      <p:bldP spid="36" grpId="2" animBg="1"/>
      <p:bldP spid="37" grpId="0" animBg="1"/>
      <p:bldP spid="37" grpId="1" animBg="1"/>
      <p:bldP spid="37" grpId="2" animBg="1"/>
    </p:bldLst>
  </p:timing>
</p:sld>
</file>

<file path=ppt/tags/tag1.xml><?xml version="1.0" encoding="utf-8"?>
<p:tagLst xmlns:p="http://schemas.openxmlformats.org/presentationml/2006/main">
  <p:tag name="THINKCELLSHAPEDONOTDELETE" val="p8zw1LBPeHUuOoWwmQfWKDQ"/>
</p:tagLst>
</file>

<file path=ppt/tags/tag10.xml><?xml version="1.0" encoding="utf-8"?>
<p:tagLst xmlns:p="http://schemas.openxmlformats.org/presentationml/2006/main">
  <p:tag name="THINKCELLSHAPEDONOTDELETE" val="p8zw1LBPeHUuOoWwmQfWKDQ"/>
</p:tagLst>
</file>

<file path=ppt/tags/tag11.xml><?xml version="1.0" encoding="utf-8"?>
<p:tagLst xmlns:p="http://schemas.openxmlformats.org/presentationml/2006/main">
  <p:tag name="THINKCELLSHAPEDONOTDELETE" val="p8zw1LBPeHUuOoWwmQfWKDQ"/>
</p:tagLst>
</file>

<file path=ppt/tags/tag12.xml><?xml version="1.0" encoding="utf-8"?>
<p:tagLst xmlns:p="http://schemas.openxmlformats.org/presentationml/2006/main">
  <p:tag name="THINKCELLSHAPEDONOTDELETE" val="p8zw1LBPeHUuOoWwmQfWKDQ"/>
</p:tagLst>
</file>

<file path=ppt/tags/tag13.xml><?xml version="1.0" encoding="utf-8"?>
<p:tagLst xmlns:p="http://schemas.openxmlformats.org/presentationml/2006/main">
  <p:tag name="THINKCELLSHAPEDONOTDELETE" val="p8zw1LBPeHUuOoWwmQfWKDQ"/>
</p:tagLst>
</file>

<file path=ppt/tags/tag14.xml><?xml version="1.0" encoding="utf-8"?>
<p:tagLst xmlns:p="http://schemas.openxmlformats.org/presentationml/2006/main">
  <p:tag name="THINKCELLSHAPEDONOTDELETE" val="p8zw1LBPeHUuOoWwmQfWKDQ"/>
</p:tagLst>
</file>

<file path=ppt/tags/tag15.xml><?xml version="1.0" encoding="utf-8"?>
<p:tagLst xmlns:p="http://schemas.openxmlformats.org/presentationml/2006/main">
  <p:tag name="THINKCELLSHAPEDONOTDELETE" val="p8zw1LBPeHUuOoWwmQfWKDQ"/>
</p:tagLst>
</file>

<file path=ppt/tags/tag16.xml><?xml version="1.0" encoding="utf-8"?>
<p:tagLst xmlns:p="http://schemas.openxmlformats.org/presentationml/2006/main">
  <p:tag name="THINKCELLSHAPEDONOTDELETE" val="p8zw1LBPeHUuOoWwmQfWKDQ"/>
</p:tagLst>
</file>

<file path=ppt/tags/tag2.xml><?xml version="1.0" encoding="utf-8"?>
<p:tagLst xmlns:p="http://schemas.openxmlformats.org/presentationml/2006/main">
  <p:tag name="THINKCELLSHAPEDONOTDELETE" val="p8zw1LBPeHUuOoWwmQfWKDQ"/>
</p:tagLst>
</file>

<file path=ppt/tags/tag3.xml><?xml version="1.0" encoding="utf-8"?>
<p:tagLst xmlns:p="http://schemas.openxmlformats.org/presentationml/2006/main">
  <p:tag name="THINKCELLSHAPEDONOTDELETE" val="p8zw1LBPeHUuOoWwmQfWKDQ"/>
</p:tagLst>
</file>

<file path=ppt/tags/tag4.xml><?xml version="1.0" encoding="utf-8"?>
<p:tagLst xmlns:p="http://schemas.openxmlformats.org/presentationml/2006/main">
  <p:tag name="THINKCELLSHAPEDONOTDELETE" val="p8zw1LBPeHUuOoWwmQfWKDQ"/>
</p:tagLst>
</file>

<file path=ppt/tags/tag5.xml><?xml version="1.0" encoding="utf-8"?>
<p:tagLst xmlns:p="http://schemas.openxmlformats.org/presentationml/2006/main">
  <p:tag name="THINKCELLSHAPEDONOTDELETE" val="p8zw1LBPeHUuOoWwmQfWKDQ"/>
</p:tagLst>
</file>

<file path=ppt/tags/tag6.xml><?xml version="1.0" encoding="utf-8"?>
<p:tagLst xmlns:p="http://schemas.openxmlformats.org/presentationml/2006/main">
  <p:tag name="THINKCELLSHAPEDONOTDELETE" val="p8zw1LBPeHUuOoWwmQfWKDQ"/>
</p:tagLst>
</file>

<file path=ppt/tags/tag7.xml><?xml version="1.0" encoding="utf-8"?>
<p:tagLst xmlns:p="http://schemas.openxmlformats.org/presentationml/2006/main">
  <p:tag name="THINKCELLSHAPEDONOTDELETE" val="p8zw1LBPeHUuOoWwmQfWKDQ"/>
</p:tagLst>
</file>

<file path=ppt/tags/tag8.xml><?xml version="1.0" encoding="utf-8"?>
<p:tagLst xmlns:p="http://schemas.openxmlformats.org/presentationml/2006/main">
  <p:tag name="THINKCELLSHAPEDONOTDELETE" val="p8zw1LBPeHUuOoWwmQfWKDQ"/>
</p:tagLst>
</file>

<file path=ppt/tags/tag9.xml><?xml version="1.0" encoding="utf-8"?>
<p:tagLst xmlns:p="http://schemas.openxmlformats.org/presentationml/2006/main">
  <p:tag name="THINKCELLSHAPEDONOTDELETE" val="p8zw1LBPeHUuOoWwmQfWKDQ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68</Words>
  <Application>WPS 演示</Application>
  <PresentationFormat>全屏显示(16:9)</PresentationFormat>
  <Paragraphs>172</Paragraphs>
  <Slides>8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8" baseType="lpstr">
      <vt:lpstr>Arial</vt:lpstr>
      <vt:lpstr>宋体</vt:lpstr>
      <vt:lpstr>Wingdings</vt:lpstr>
      <vt:lpstr>Calibri</vt:lpstr>
      <vt:lpstr>方正粗圆简体</vt:lpstr>
      <vt:lpstr>微软雅黑</vt:lpstr>
      <vt:lpstr>方正黑体简体</vt:lpstr>
      <vt:lpstr>Arial Unicode MS</vt:lpstr>
      <vt:lpstr>等线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www.rapidppt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锐普PPT</dc:creator>
  <dc:description>本素材由锐普原创，版权受国家法律保护，仅授权购买者本人使用，为了您个人和锐普的利益，请勿复制、传播、销售，否则将承担法律责任。</dc:description>
  <cp:lastModifiedBy>荷语默</cp:lastModifiedBy>
  <cp:revision>6</cp:revision>
  <dcterms:created xsi:type="dcterms:W3CDTF">2012-06-06T07:11:00Z</dcterms:created>
  <dcterms:modified xsi:type="dcterms:W3CDTF">2018-08-28T07:0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